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slides/slide94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36.xml" ContentType="application/vnd.openxmlformats-officedocument.presentationml.slide+xml"/>
  <Override PartName="/ppt/slides/slide83.xml" ContentType="application/vnd.openxmlformats-officedocument.presentationml.slide+xml"/>
  <Override PartName="/ppt/slides/slide25.xml" ContentType="application/vnd.openxmlformats-officedocument.presentationml.slide+xml"/>
  <Override PartName="/ppt/slides/slide72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theme/themeOverride1.xml" ContentType="application/vnd.openxmlformats-officedocument.themeOverride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charts/chart7.xml" ContentType="application/vnd.openxmlformats-officedocument.drawingml.chart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slides/slide99.xml" ContentType="application/vnd.openxmlformats-officedocument.presentationml.slide+xml"/>
  <Default Extension="xlsx" ContentType="application/vnd.openxmlformats-officedocument.spreadsheetml.sheet"/>
  <Override PartName="/ppt/charts/chart3.xml" ContentType="application/vnd.openxmlformats-officedocument.drawingml.char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slides/slide77.xml" ContentType="application/vnd.openxmlformats-officedocument.presentationml.slide+xml"/>
  <Override PartName="/ppt/slides/slide88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s/slide95.xml" ContentType="application/vnd.openxmlformats-officedocument.presentationml.slide+xml"/>
  <Override PartName="/ppt/slides/slide103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drawings/drawing3.xml" ContentType="application/vnd.openxmlformats-officedocument.drawingml.chartshape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slides/slide84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s/slide80.xml" ContentType="application/vnd.openxmlformats-officedocument.presentationml.slide+xml"/>
  <Override PartName="/ppt/slides/slide9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charts/chart8.xml" ContentType="application/vnd.openxmlformats-officedocument.drawingml.char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charts/chart10.xml" ContentType="application/vnd.openxmlformats-officedocument.drawingml.chart+xml"/>
  <Override PartName="/ppt/slides/slide89.xml" ContentType="application/vnd.openxmlformats-officedocument.presentationml.slide+xml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slides/slide49.xml" ContentType="application/vnd.openxmlformats-officedocument.presentationml.slide+xml"/>
  <Override PartName="/ppt/slides/slide78.xml" ContentType="application/vnd.openxmlformats-officedocument.presentationml.slide+xml"/>
  <Override PartName="/ppt/slides/slide96.xml" ContentType="application/vnd.openxmlformats-officedocument.presentationml.slide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s/slide85.xml" ContentType="application/vnd.openxmlformats-officedocument.presentationml.slide+xml"/>
  <Override PartName="/ppt/slides/slide104.xml" ContentType="application/vnd.openxmlformats-officedocument.presentationml.slide+xml"/>
  <Override PartName="/ppt/slideLayouts/slideLayout8.xml" ContentType="application/vnd.openxmlformats-officedocument.presentationml.slideLayout+xml"/>
  <Override PartName="/ppt/drawings/drawing4.xml" ContentType="application/vnd.openxmlformats-officedocument.drawingml.chartshapes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s/slide92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s/slide81.xml" ContentType="application/vnd.openxmlformats-officedocument.presentationml.slide+xml"/>
  <Override PartName="/ppt/slides/slide100.xml" ContentType="application/vnd.openxmlformats-officedocument.presentationml.slide+xml"/>
  <Default Extension="xls" ContentType="application/vnd.ms-exce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charts/chart9.xml" ContentType="application/vnd.openxmlformats-officedocument.drawingml.char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slides/slide79.xml" ContentType="application/vnd.openxmlformats-officedocument.presentationml.slide+xml"/>
  <Override PartName="/ppt/charts/chart5.xml" ContentType="application/vnd.openxmlformats-officedocument.drawingml.chart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s/slide97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drawings/drawing5.xml" ContentType="application/vnd.openxmlformats-officedocument.drawingml.chartshape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slides/slide86.xml" ContentType="application/vnd.openxmlformats-officedocument.presentationml.slide+xml"/>
  <Override PartName="/ppt/slides/slide105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s/slide93.xml" ContentType="application/vnd.openxmlformats-officedocument.presentationml.slide+xml"/>
  <Override PartName="/ppt/slides/slide101.xml" ContentType="application/vnd.openxmlformats-officedocument.presentationml.slide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Override PartName="/ppt/slides/slide82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charts/chart6.xml" ContentType="application/vnd.openxmlformats-officedocument.drawingml.char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slides/slide98.xml" ContentType="application/vnd.openxmlformats-officedocument.presentationml.slide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slides/slide87.xml" ContentType="application/vnd.openxmlformats-officedocument.presentationml.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drawings/drawing6.xml" ContentType="application/vnd.openxmlformats-officedocument.drawingml.chartshapes+xml"/>
  <Override PartName="/ppt/slides/slide29.xml" ContentType="application/vnd.openxmlformats-officedocument.presentationml.slide+xml"/>
  <Override PartName="/ppt/slides/slide76.xml" ContentType="application/vnd.openxmlformats-officedocument.presentationml.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s/slide102.xml" ContentType="application/vnd.openxmlformats-officedocument.presentationml.slide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tags/tag4.xml" ContentType="application/vnd.openxmlformats-officedocument.presentationml.tags+xml"/>
  <Override PartName="/ppt/slides/slide43.xml" ContentType="application/vnd.openxmlformats-officedocument.presentationml.slide+xml"/>
  <Override PartName="/ppt/slides/slide90.xml" ContentType="application/vnd.openxmlformats-officedocument.presentationml.slide+xml"/>
  <Override PartName="/ppt/theme/theme1.xml" ContentType="application/vnd.openxmlformats-officedocument.theme+xml"/>
  <Override PartName="/ppt/slides/slide32.xml" ContentType="application/vnd.openxmlformats-officedocument.presentationml.slide+xml"/>
  <Override PartName="/ppt/tags/tag5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107"/>
  </p:notesMasterIdLst>
  <p:sldIdLst>
    <p:sldId id="256" r:id="rId2"/>
    <p:sldId id="274" r:id="rId3"/>
    <p:sldId id="257" r:id="rId4"/>
    <p:sldId id="429" r:id="rId5"/>
    <p:sldId id="430" r:id="rId6"/>
    <p:sldId id="340" r:id="rId7"/>
    <p:sldId id="335" r:id="rId8"/>
    <p:sldId id="336" r:id="rId9"/>
    <p:sldId id="337" r:id="rId10"/>
    <p:sldId id="338" r:id="rId11"/>
    <p:sldId id="319" r:id="rId12"/>
    <p:sldId id="419" r:id="rId13"/>
    <p:sldId id="420" r:id="rId14"/>
    <p:sldId id="421" r:id="rId15"/>
    <p:sldId id="339" r:id="rId16"/>
    <p:sldId id="320" r:id="rId17"/>
    <p:sldId id="441" r:id="rId18"/>
    <p:sldId id="321" r:id="rId19"/>
    <p:sldId id="431" r:id="rId20"/>
    <p:sldId id="323" r:id="rId21"/>
    <p:sldId id="439" r:id="rId22"/>
    <p:sldId id="334" r:id="rId23"/>
    <p:sldId id="281" r:id="rId24"/>
    <p:sldId id="301" r:id="rId25"/>
    <p:sldId id="284" r:id="rId26"/>
    <p:sldId id="341" r:id="rId27"/>
    <p:sldId id="342" r:id="rId28"/>
    <p:sldId id="372" r:id="rId29"/>
    <p:sldId id="348" r:id="rId30"/>
    <p:sldId id="349" r:id="rId31"/>
    <p:sldId id="350" r:id="rId32"/>
    <p:sldId id="351" r:id="rId33"/>
    <p:sldId id="352" r:id="rId34"/>
    <p:sldId id="353" r:id="rId35"/>
    <p:sldId id="354" r:id="rId36"/>
    <p:sldId id="355" r:id="rId37"/>
    <p:sldId id="356" r:id="rId38"/>
    <p:sldId id="357" r:id="rId39"/>
    <p:sldId id="367" r:id="rId40"/>
    <p:sldId id="368" r:id="rId41"/>
    <p:sldId id="369" r:id="rId42"/>
    <p:sldId id="370" r:id="rId43"/>
    <p:sldId id="371" r:id="rId44"/>
    <p:sldId id="358" r:id="rId45"/>
    <p:sldId id="359" r:id="rId46"/>
    <p:sldId id="360" r:id="rId47"/>
    <p:sldId id="443" r:id="rId48"/>
    <p:sldId id="345" r:id="rId49"/>
    <p:sldId id="432" r:id="rId50"/>
    <p:sldId id="442" r:id="rId51"/>
    <p:sldId id="433" r:id="rId52"/>
    <p:sldId id="434" r:id="rId53"/>
    <p:sldId id="435" r:id="rId54"/>
    <p:sldId id="436" r:id="rId55"/>
    <p:sldId id="346" r:id="rId56"/>
    <p:sldId id="376" r:id="rId57"/>
    <p:sldId id="377" r:id="rId58"/>
    <p:sldId id="378" r:id="rId59"/>
    <p:sldId id="379" r:id="rId60"/>
    <p:sldId id="380" r:id="rId61"/>
    <p:sldId id="381" r:id="rId62"/>
    <p:sldId id="382" r:id="rId63"/>
    <p:sldId id="383" r:id="rId64"/>
    <p:sldId id="384" r:id="rId65"/>
    <p:sldId id="385" r:id="rId66"/>
    <p:sldId id="386" r:id="rId67"/>
    <p:sldId id="387" r:id="rId68"/>
    <p:sldId id="388" r:id="rId69"/>
    <p:sldId id="389" r:id="rId70"/>
    <p:sldId id="390" r:id="rId71"/>
    <p:sldId id="391" r:id="rId72"/>
    <p:sldId id="392" r:id="rId73"/>
    <p:sldId id="393" r:id="rId74"/>
    <p:sldId id="394" r:id="rId75"/>
    <p:sldId id="395" r:id="rId76"/>
    <p:sldId id="396" r:id="rId77"/>
    <p:sldId id="397" r:id="rId78"/>
    <p:sldId id="398" r:id="rId79"/>
    <p:sldId id="399" r:id="rId80"/>
    <p:sldId id="400" r:id="rId81"/>
    <p:sldId id="428" r:id="rId82"/>
    <p:sldId id="402" r:id="rId83"/>
    <p:sldId id="403" r:id="rId84"/>
    <p:sldId id="404" r:id="rId85"/>
    <p:sldId id="405" r:id="rId86"/>
    <p:sldId id="406" r:id="rId87"/>
    <p:sldId id="407" r:id="rId88"/>
    <p:sldId id="408" r:id="rId89"/>
    <p:sldId id="409" r:id="rId90"/>
    <p:sldId id="410" r:id="rId91"/>
    <p:sldId id="411" r:id="rId92"/>
    <p:sldId id="412" r:id="rId93"/>
    <p:sldId id="413" r:id="rId94"/>
    <p:sldId id="414" r:id="rId95"/>
    <p:sldId id="415" r:id="rId96"/>
    <p:sldId id="416" r:id="rId97"/>
    <p:sldId id="417" r:id="rId98"/>
    <p:sldId id="422" r:id="rId99"/>
    <p:sldId id="423" r:id="rId100"/>
    <p:sldId id="424" r:id="rId101"/>
    <p:sldId id="425" r:id="rId102"/>
    <p:sldId id="437" r:id="rId103"/>
    <p:sldId id="438" r:id="rId104"/>
    <p:sldId id="292" r:id="rId105"/>
    <p:sldId id="426" r:id="rId106"/>
  </p:sldIdLst>
  <p:sldSz cx="9144000" cy="6858000" type="screen4x3"/>
  <p:notesSz cx="6858000" cy="9144000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300"/>
    <a:srgbClr val="B2FC9E"/>
    <a:srgbClr val="FFFF99"/>
    <a:srgbClr val="FF9999"/>
    <a:srgbClr val="FF6600"/>
    <a:srgbClr val="99FF66"/>
    <a:srgbClr val="F8AAFA"/>
    <a:srgbClr val="FFCCFF"/>
    <a:srgbClr val="F9A1FB"/>
    <a:srgbClr val="3399FF"/>
  </p:clrMru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4644" autoAdjust="0"/>
    <p:restoredTop sz="99367" autoAdjust="0"/>
  </p:normalViewPr>
  <p:slideViewPr>
    <p:cSldViewPr>
      <p:cViewPr varScale="1">
        <p:scale>
          <a:sx n="71" d="100"/>
          <a:sy n="71" d="100"/>
        </p:scale>
        <p:origin x="-1308" y="-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07" Type="http://schemas.openxmlformats.org/officeDocument/2006/relationships/notesMaster" Target="notesMasters/notesMaster1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102" Type="http://schemas.openxmlformats.org/officeDocument/2006/relationships/slide" Target="slides/slide101.xml"/><Relationship Id="rId110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slide" Target="slides/slide102.xml"/><Relationship Id="rId108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1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viewProps" Target="viewProps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_____Microsoft_Office_Excel9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file:///\\172.17.30.15\all\&#1055;&#1088;&#1086;&#1077;&#1082;&#1090;%20&#1088;&#1077;&#1096;&#1077;&#1085;&#1080;&#1103;%20&#1085;&#1072;%202018%20&#1075;&#1086;&#1076;\&#1044;&#1086;&#1082;&#1083;&#1072;&#1076;\&#1044;&#1080;&#1072;&#1075;&#1088;&#1072;&#1084;&#1084;&#1072;%20&#1074;%20&#1055;&#1088;&#1077;&#1079;&#1077;&#1085;&#1090;&#1072;&#1094;&#1080;&#1103;%20&#1076;&#1083;&#1103;%20&#1055;&#1059;&#1041;&#1051;&#1048;&#1063;&#1053;&#1067;&#1061;%20&#1057;&#1051;&#1059;&#1064;&#1040;&#1053;&#1048;&#1049;%20(&#1056;&#1077;&#1078;&#1080;&#1084;%20&#1089;&#1086;&#1074;&#1084;&#1077;&#1089;&#1090;&#1080;&#1084;&#1086;&#1089;&#1090;&#1080;)%20(&#1042;&#1086;&#1089;&#1089;&#1090;&#1072;&#1085;&#1086;&#1074;&#1083;&#1077;&#1085;&#1085;&#1099;&#1081;).xls" TargetMode="External"/><Relationship Id="rId1" Type="http://schemas.openxmlformats.org/officeDocument/2006/relationships/themeOverride" Target="../theme/themeOverride1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Office_Excel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33"/>
      <c:hPercent val="77"/>
      <c:rotY val="35"/>
      <c:depthPercent val="100"/>
      <c:rAngAx val="1"/>
    </c:view3D>
    <c:floor>
      <c:spPr>
        <a:solidFill>
          <a:srgbClr val="C0C0C0"/>
        </a:solidFill>
        <a:ln w="3175">
          <a:solidFill>
            <a:srgbClr val="000000"/>
          </a:solidFill>
          <a:prstDash val="solid"/>
        </a:ln>
      </c:spPr>
    </c:floor>
    <c:sideWall>
      <c:spPr>
        <a:noFill/>
        <a:ln w="25400">
          <a:noFill/>
        </a:ln>
      </c:spPr>
    </c:sideWall>
    <c:backWall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9.8817203405129908E-2"/>
          <c:y val="3.0535115698507108E-2"/>
          <c:w val="0.85745504972312769"/>
          <c:h val="0.7951204833573019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Доходы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tint val="48000"/>
                    <a:satMod val="138000"/>
                  </a:schemeClr>
                </a:gs>
                <a:gs pos="25000">
                  <a:schemeClr val="accent3">
                    <a:tint val="85000"/>
                  </a:schemeClr>
                </a:gs>
                <a:gs pos="40000">
                  <a:schemeClr val="accent3">
                    <a:tint val="92000"/>
                  </a:schemeClr>
                </a:gs>
                <a:gs pos="50000">
                  <a:schemeClr val="accent3">
                    <a:tint val="93000"/>
                  </a:schemeClr>
                </a:gs>
                <a:gs pos="60000">
                  <a:schemeClr val="accent3">
                    <a:tint val="92000"/>
                  </a:schemeClr>
                </a:gs>
                <a:gs pos="75000">
                  <a:schemeClr val="accent3">
                    <a:tint val="83000"/>
                    <a:satMod val="108000"/>
                  </a:schemeClr>
                </a:gs>
                <a:gs pos="100000">
                  <a:schemeClr val="accent3">
                    <a:tint val="48000"/>
                    <a:satMod val="150000"/>
                  </a:schemeClr>
                </a:gs>
              </a:gsLst>
              <a:lin ang="5400000" scaled="0"/>
            </a:gradFill>
            <a:ln w="12000" cap="flat" cmpd="sng" algn="ctr">
              <a:solidFill>
                <a:schemeClr val="accent3"/>
              </a:solidFill>
              <a:prstDash val="solid"/>
            </a:ln>
            <a:effectLst>
              <a:glow rad="63500">
                <a:schemeClr val="accent3">
                  <a:alpha val="45000"/>
                  <a:satMod val="120000"/>
                </a:schemeClr>
              </a:glow>
            </a:effectLst>
            <a:scene3d>
              <a:camera prst="orthographicFront" fov="0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chemeClr val="accent3">
                  <a:tint val="70000"/>
                </a:schemeClr>
              </a:contourClr>
            </a:sp3d>
          </c:spPr>
          <c:cat>
            <c:numRef>
              <c:f>Sheet1!$B$1:$F$1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B$2:$F$2</c:f>
              <c:numCache>
                <c:formatCode>General</c:formatCode>
                <c:ptCount val="5"/>
                <c:pt idx="0">
                  <c:v>1416.76</c:v>
                </c:pt>
                <c:pt idx="1">
                  <c:v>1706.6399999999999</c:v>
                </c:pt>
                <c:pt idx="2">
                  <c:v>1487.62</c:v>
                </c:pt>
                <c:pt idx="3">
                  <c:v>1070.06</c:v>
                </c:pt>
                <c:pt idx="4">
                  <c:v>1069.58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spPr>
            <a:solidFill>
              <a:srgbClr val="4F81BD">
                <a:alpha val="88000"/>
              </a:srgbClr>
            </a:solidFill>
            <a:ln w="12000" cap="flat" cmpd="sng" algn="ctr">
              <a:solidFill>
                <a:schemeClr val="bg1"/>
              </a:solidFill>
              <a:prstDash val="solid"/>
            </a:ln>
            <a:effectLst>
              <a:glow rad="63500">
                <a:schemeClr val="accent5">
                  <a:alpha val="45000"/>
                  <a:satMod val="120000"/>
                </a:schemeClr>
              </a:glow>
            </a:effectLst>
            <a:scene3d>
              <a:camera prst="orthographicFront" fov="0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chemeClr val="accent5">
                  <a:tint val="70000"/>
                </a:schemeClr>
              </a:contourClr>
            </a:sp3d>
          </c:spPr>
          <c:cat>
            <c:numRef>
              <c:f>Sheet1!$B$1:$F$1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Sheet1!$B$3:$F$3</c:f>
              <c:numCache>
                <c:formatCode>General</c:formatCode>
                <c:ptCount val="5"/>
                <c:pt idx="0">
                  <c:v>1499.2</c:v>
                </c:pt>
                <c:pt idx="1">
                  <c:v>1655.59</c:v>
                </c:pt>
                <c:pt idx="2">
                  <c:v>1478.6299999999999</c:v>
                </c:pt>
                <c:pt idx="3">
                  <c:v>1061.73</c:v>
                </c:pt>
                <c:pt idx="4">
                  <c:v>1069.5899999999999</c:v>
                </c:pt>
              </c:numCache>
            </c:numRef>
          </c:val>
        </c:ser>
        <c:gapDepth val="0"/>
        <c:shape val="box"/>
        <c:axId val="125326080"/>
        <c:axId val="125327616"/>
        <c:axId val="0"/>
      </c:bar3DChart>
      <c:catAx>
        <c:axId val="125326080"/>
        <c:scaling>
          <c:orientation val="minMax"/>
        </c:scaling>
        <c:axPos val="b"/>
        <c:numFmt formatCode="General" sourceLinked="1"/>
        <c:tickLblPos val="low"/>
        <c:spPr>
          <a:ln w="3851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2334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25327616"/>
        <c:crosses val="autoZero"/>
        <c:auto val="1"/>
        <c:lblAlgn val="ctr"/>
        <c:lblOffset val="100"/>
        <c:tickLblSkip val="1"/>
        <c:tickMarkSkip val="1"/>
      </c:catAx>
      <c:valAx>
        <c:axId val="125327616"/>
        <c:scaling>
          <c:orientation val="minMax"/>
        </c:scaling>
        <c:axPos val="l"/>
        <c:numFmt formatCode="General" sourceLinked="1"/>
        <c:tickLblPos val="nextTo"/>
        <c:txPr>
          <a:bodyPr/>
          <a:lstStyle/>
          <a:p>
            <a:pPr>
              <a:defRPr sz="1998" baseline="0"/>
            </a:pPr>
            <a:endParaRPr lang="ru-RU"/>
          </a:p>
        </c:txPr>
        <c:crossAx val="125326080"/>
        <c:crosses val="autoZero"/>
        <c:crossBetween val="between"/>
      </c:valAx>
      <c:spPr>
        <a:noFill/>
        <a:ln w="25390">
          <a:noFill/>
        </a:ln>
      </c:spPr>
    </c:plotArea>
    <c:legend>
      <c:legendPos val="r"/>
      <c:layout>
        <c:manualLayout>
          <c:xMode val="edge"/>
          <c:yMode val="edge"/>
          <c:x val="0.78934287759485089"/>
          <c:y val="0.41567381663498981"/>
          <c:w val="0.2005238115289063"/>
          <c:h val="0.14968936354220264"/>
        </c:manualLayout>
      </c:layout>
      <c:spPr>
        <a:noFill/>
        <a:ln w="30794">
          <a:noFill/>
        </a:ln>
      </c:spPr>
      <c:txPr>
        <a:bodyPr/>
        <a:lstStyle/>
        <a:p>
          <a:pPr>
            <a:defRPr sz="2619" b="1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849" b="1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/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32"/>
  <c:chart>
    <c:autoTitleDeleted val="1"/>
    <c:view3D>
      <c:perspective val="30"/>
    </c:view3D>
    <c:plotArea>
      <c:layout>
        <c:manualLayout>
          <c:layoutTarget val="inner"/>
          <c:xMode val="edge"/>
          <c:yMode val="edge"/>
          <c:x val="4.7041504210837304E-2"/>
          <c:y val="0"/>
          <c:w val="0.88143795830838312"/>
          <c:h val="0.93419802273131869"/>
        </c:manualLayout>
      </c:layout>
      <c:area3D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 краевого бюджета</c:v>
                </c:pt>
              </c:strCache>
            </c:strRef>
          </c:tx>
          <c:spPr>
            <a:gradFill flip="none" rotWithShape="1">
              <a:gsLst>
                <a:gs pos="0">
                  <a:srgbClr val="009999">
                    <a:shade val="30000"/>
                    <a:satMod val="115000"/>
                  </a:srgbClr>
                </a:gs>
                <a:gs pos="50000">
                  <a:srgbClr val="009999">
                    <a:shade val="67500"/>
                    <a:satMod val="115000"/>
                  </a:srgbClr>
                </a:gs>
                <a:gs pos="100000">
                  <a:srgbClr val="0099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scene3d>
              <a:camera prst="orthographicFront"/>
              <a:lightRig rig="contrasting" dir="t"/>
            </a:scene3d>
            <a:sp3d prstMaterial="flat">
              <a:bevelT w="203200" h="203200"/>
            </a:sp3d>
          </c:spPr>
          <c:dLbls>
            <c:dLbl>
              <c:idx val="0"/>
              <c:layout>
                <c:manualLayout>
                  <c:x val="6.9444444444444909E-3"/>
                  <c:y val="-6.3685803331218829E-2"/>
                </c:manualLayout>
              </c:layout>
              <c:showVal val="1"/>
            </c:dLbl>
            <c:dLbl>
              <c:idx val="1"/>
              <c:layout>
                <c:manualLayout>
                  <c:x val="2.777777777777826E-3"/>
                  <c:y val="-8.3587616872224713E-2"/>
                </c:manualLayout>
              </c:layout>
              <c:showVal val="1"/>
            </c:dLbl>
            <c:dLbl>
              <c:idx val="2"/>
              <c:layout>
                <c:manualLayout>
                  <c:x val="-1.3888888888889041E-3"/>
                  <c:y val="-2.9852720311508828E-2"/>
                </c:manualLayout>
              </c:layout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strRef>
              <c:f>Лист1!$A$2:$A$5</c:f>
              <c:strCache>
                <c:ptCount val="4"/>
                <c:pt idx="0">
                  <c:v>на 01.01.2018 г.</c:v>
                </c:pt>
                <c:pt idx="1">
                  <c:v>на 01.01.2019 г.</c:v>
                </c:pt>
                <c:pt idx="2">
                  <c:v>на 01.01.2020 г.</c:v>
                </c:pt>
                <c:pt idx="3">
                  <c:v>на 01.01.2021 г.</c:v>
                </c:pt>
              </c:strCache>
            </c:strRef>
          </c:cat>
          <c:val>
            <c:numRef>
              <c:f>Лист1!$B$2:$B$5</c:f>
              <c:numCache>
                <c:formatCode>#,##0.0</c:formatCode>
                <c:ptCount val="4"/>
                <c:pt idx="0">
                  <c:v>12.4</c:v>
                </c:pt>
                <c:pt idx="1">
                  <c:v>17.3</c:v>
                </c:pt>
                <c:pt idx="2">
                  <c:v>8.3000000000000007</c:v>
                </c:pt>
                <c:pt idx="3">
                  <c:v>0</c:v>
                </c:pt>
              </c:numCache>
            </c:numRef>
          </c:val>
        </c:ser>
        <c:axId val="210518016"/>
        <c:axId val="210519552"/>
        <c:axId val="207680832"/>
      </c:area3DChart>
      <c:catAx>
        <c:axId val="210518016"/>
        <c:scaling>
          <c:orientation val="minMax"/>
        </c:scaling>
        <c:axPos val="b"/>
        <c:tickLblPos val="nextTo"/>
        <c:txPr>
          <a:bodyPr/>
          <a:lstStyle/>
          <a:p>
            <a:pPr>
              <a:defRPr sz="1800" b="1"/>
            </a:pPr>
            <a:endParaRPr lang="ru-RU"/>
          </a:p>
        </c:txPr>
        <c:crossAx val="210519552"/>
        <c:crosses val="autoZero"/>
        <c:auto val="1"/>
        <c:lblAlgn val="ctr"/>
        <c:lblOffset val="100"/>
      </c:catAx>
      <c:valAx>
        <c:axId val="210519552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210518016"/>
        <c:crosses val="autoZero"/>
        <c:crossBetween val="midCat"/>
      </c:valAx>
      <c:serAx>
        <c:axId val="207680832"/>
        <c:scaling>
          <c:orientation val="minMax"/>
        </c:scaling>
        <c:delete val="1"/>
        <c:axPos val="b"/>
        <c:tickLblPos val="none"/>
        <c:crossAx val="210519552"/>
        <c:crosses val="autoZero"/>
      </c:serAx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2018</a:t>
            </a:r>
            <a:r>
              <a:rPr lang="ru-RU" dirty="0" smtClean="0"/>
              <a:t> год</a:t>
            </a:r>
          </a:p>
        </c:rich>
      </c:tx>
      <c:layout/>
    </c:title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2.9</c:v>
                </c:pt>
                <c:pt idx="1">
                  <c:v>47.1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201</a:t>
            </a:r>
            <a:r>
              <a:rPr lang="ru-RU" dirty="0" smtClean="0"/>
              <a:t>9</a:t>
            </a:r>
            <a:r>
              <a:rPr lang="ru-RU" baseline="0" dirty="0" smtClean="0"/>
              <a:t> год</a:t>
            </a:r>
            <a:endParaRPr lang="en-US" dirty="0"/>
          </a:p>
        </c:rich>
      </c:tx>
      <c:layout/>
    </c:title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1.4</c:v>
                </c:pt>
                <c:pt idx="1">
                  <c:v>48.6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20</a:t>
            </a:r>
            <a:r>
              <a:rPr lang="ru-RU" dirty="0" smtClean="0"/>
              <a:t>20 год</a:t>
            </a:r>
            <a:endParaRPr lang="en-US" dirty="0"/>
          </a:p>
        </c:rich>
      </c:tx>
      <c:layout/>
    </c:title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2</c:v>
                </c:pt>
                <c:pt idx="1">
                  <c:v>48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ru-RU" dirty="0" smtClean="0"/>
              <a:t>2021 год</a:t>
            </a:r>
            <a:endParaRPr lang="en-US" dirty="0"/>
          </a:p>
        </c:rich>
      </c:tx>
      <c:layout/>
    </c:title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9.2</c:v>
                </c:pt>
                <c:pt idx="1">
                  <c:v>50.8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10"/>
  <c:chart>
    <c:autoTitleDeleted val="1"/>
    <c:plotArea>
      <c:layout>
        <c:manualLayout>
          <c:layoutTarget val="inner"/>
          <c:xMode val="edge"/>
          <c:yMode val="edge"/>
          <c:x val="3.2592364474556212E-2"/>
          <c:y val="4.6439958814325402E-2"/>
          <c:w val="0.96740763552544395"/>
          <c:h val="0.62694177701877485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Земельный налог</c:v>
                </c:pt>
              </c:strCache>
            </c:strRef>
          </c:tx>
          <c:spPr>
            <a:ln>
              <a:solidFill>
                <a:srgbClr val="9BBB59"/>
              </a:solidFill>
            </a:ln>
          </c:spPr>
          <c:marker>
            <c:spPr>
              <a:solidFill>
                <a:srgbClr val="92D050"/>
              </a:solidFill>
            </c:spPr>
          </c:marker>
          <c:dLbls>
            <c:dLbl>
              <c:idx val="0"/>
              <c:layout>
                <c:manualLayout>
                  <c:x val="0"/>
                  <c:y val="6.3209434132472292E-2"/>
                </c:manualLayout>
              </c:layout>
              <c:showVal val="1"/>
            </c:dLbl>
            <c:dLbl>
              <c:idx val="1"/>
              <c:layout>
                <c:manualLayout>
                  <c:x val="0"/>
                  <c:y val="5.5308254865913412E-2"/>
                </c:manualLayout>
              </c:layout>
              <c:showVal val="1"/>
            </c:dLbl>
            <c:dLbl>
              <c:idx val="2"/>
              <c:layout>
                <c:manualLayout>
                  <c:x val="0"/>
                  <c:y val="7.90117926655904E-2"/>
                </c:manualLayout>
              </c:layout>
              <c:showVal val="1"/>
            </c:dLbl>
            <c:showVal val="1"/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3</c:v>
                </c:pt>
                <c:pt idx="1">
                  <c:v>23.6</c:v>
                </c:pt>
                <c:pt idx="2">
                  <c:v>22.8</c:v>
                </c:pt>
                <c:pt idx="3">
                  <c:v>23.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алог на имущество физических лиц</c:v>
                </c:pt>
              </c:strCache>
            </c:strRef>
          </c:tx>
          <c:dLbls>
            <c:dLbl>
              <c:idx val="0"/>
              <c:layout>
                <c:manualLayout>
                  <c:x val="-7.4073555623990969E-3"/>
                  <c:y val="3.9505896332795179E-2"/>
                </c:manualLayout>
              </c:layout>
              <c:showVal val="1"/>
            </c:dLbl>
            <c:dLbl>
              <c:idx val="1"/>
              <c:layout>
                <c:manualLayout>
                  <c:x val="-7.4073555623990969E-3"/>
                  <c:y val="8.6912971932149322E-2"/>
                </c:manualLayout>
              </c:layout>
              <c:showVal val="1"/>
            </c:dLbl>
            <c:dLbl>
              <c:idx val="2"/>
              <c:layout>
                <c:manualLayout>
                  <c:x val="-7.4073555623990969E-3"/>
                  <c:y val="7.90117926655904E-2"/>
                </c:manualLayout>
              </c:layout>
              <c:showVal val="1"/>
            </c:dLbl>
            <c:showVal val="1"/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8</c:v>
                </c:pt>
                <c:pt idx="1">
                  <c:v>8.1</c:v>
                </c:pt>
                <c:pt idx="2">
                  <c:v>8.6</c:v>
                </c:pt>
                <c:pt idx="3">
                  <c:v>9.8000000000000007</c:v>
                </c:pt>
              </c:numCache>
            </c:numRef>
          </c:val>
        </c:ser>
        <c:dLbls>
          <c:showVal val="1"/>
        </c:dLbls>
        <c:marker val="1"/>
        <c:axId val="159277824"/>
        <c:axId val="159279360"/>
      </c:lineChart>
      <c:catAx>
        <c:axId val="159277824"/>
        <c:scaling>
          <c:orientation val="minMax"/>
        </c:scaling>
        <c:axPos val="b"/>
        <c:numFmt formatCode="General" sourceLinked="1"/>
        <c:majorTickMark val="none"/>
        <c:tickLblPos val="nextTo"/>
        <c:crossAx val="159279360"/>
        <c:crosses val="autoZero"/>
        <c:auto val="1"/>
        <c:lblAlgn val="ctr"/>
        <c:lblOffset val="100"/>
      </c:catAx>
      <c:valAx>
        <c:axId val="159279360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15927782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6.7934782608695704E-2"/>
          <c:y val="0.88888266748789169"/>
          <c:w val="0.84042678033165785"/>
          <c:h val="8.6565310221156266E-2"/>
        </c:manualLayout>
      </c:layout>
      <c:spPr>
        <a:gradFill rotWithShape="1">
          <a:gsLst>
            <a:gs pos="0">
              <a:schemeClr val="accent1">
                <a:tint val="48000"/>
                <a:satMod val="138000"/>
              </a:schemeClr>
            </a:gs>
            <a:gs pos="25000">
              <a:schemeClr val="accent1">
                <a:tint val="85000"/>
              </a:schemeClr>
            </a:gs>
            <a:gs pos="40000">
              <a:schemeClr val="accent1">
                <a:tint val="92000"/>
              </a:schemeClr>
            </a:gs>
            <a:gs pos="50000">
              <a:schemeClr val="accent1">
                <a:tint val="93000"/>
              </a:schemeClr>
            </a:gs>
            <a:gs pos="60000">
              <a:schemeClr val="accent1">
                <a:tint val="92000"/>
              </a:schemeClr>
            </a:gs>
            <a:gs pos="75000">
              <a:schemeClr val="accent1">
                <a:tint val="83000"/>
                <a:satMod val="108000"/>
              </a:schemeClr>
            </a:gs>
            <a:gs pos="100000">
              <a:schemeClr val="accent1">
                <a:tint val="48000"/>
                <a:satMod val="150000"/>
              </a:schemeClr>
            </a:gs>
          </a:gsLst>
          <a:lin ang="5400000" scaled="0"/>
        </a:gradFill>
        <a:ln w="12000" cap="flat" cmpd="sng" algn="ctr">
          <a:solidFill>
            <a:schemeClr val="accent1"/>
          </a:solidFill>
          <a:prstDash val="solid"/>
        </a:ln>
        <a:effectLst>
          <a:glow rad="63500">
            <a:schemeClr val="accent1">
              <a:alpha val="45000"/>
              <a:satMod val="120000"/>
            </a:schemeClr>
          </a:glow>
        </a:effectLst>
        <a:scene3d>
          <a:camera prst="orthographicFront" fov="0">
            <a:rot lat="0" lon="0" rev="0"/>
          </a:camera>
          <a:lightRig rig="brightRoom" dir="tl">
            <a:rot lat="0" lon="0" rev="8700000"/>
          </a:lightRig>
        </a:scene3d>
        <a:sp3d>
          <a:bevelT w="0" h="0"/>
          <a:contourClr>
            <a:schemeClr val="accent1">
              <a:tint val="70000"/>
            </a:schemeClr>
          </a:contourClr>
        </a:sp3d>
      </c:spPr>
      <c:txPr>
        <a:bodyPr/>
        <a:lstStyle/>
        <a:p>
          <a:pPr>
            <a:defRPr>
              <a:solidFill>
                <a:schemeClr val="lt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lrMapOvr bg1="lt1" tx1="dk1" bg2="lt2" tx2="dk2" accent1="accent1" accent2="accent2" accent3="accent3" accent4="accent4" accent5="accent5" accent6="accent6" hlink="hlink" folHlink="folHlink"/>
  <c:chart>
    <c:view3D>
      <c:hPercent val="59"/>
      <c:depthPercent val="500"/>
      <c:rAngAx val="1"/>
    </c:view3D>
    <c:floor>
      <c:spPr>
        <a:noFill/>
        <a:ln w="9525">
          <a:noFill/>
        </a:ln>
      </c:spPr>
    </c:floor>
    <c:sideWall>
      <c:spPr>
        <a:noFill/>
        <a:ln w="25400">
          <a:noFill/>
        </a:ln>
      </c:spPr>
    </c:sideWall>
    <c:backWall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2.4691358024692054E-2"/>
          <c:y val="1.1611030478955241E-2"/>
          <c:w val="0.90370370370370379"/>
          <c:h val="0.8577648766328263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субвенции</c:v>
                </c:pt>
              </c:strCache>
            </c:strRef>
          </c:tx>
          <c:spPr>
            <a:solidFill>
              <a:srgbClr val="808000"/>
            </a:solidFill>
            <a:ln w="25355">
              <a:noFill/>
            </a:ln>
          </c:spPr>
          <c:dLbls>
            <c:dLbl>
              <c:idx val="0"/>
              <c:layout>
                <c:manualLayout>
                  <c:x val="7.5344609701565091E-2"/>
                  <c:y val="-9.4976553184847018E-2"/>
                </c:manualLayout>
              </c:layout>
              <c:showVal val="1"/>
            </c:dLbl>
            <c:dLbl>
              <c:idx val="1"/>
              <c:layout>
                <c:manualLayout>
                  <c:x val="7.4446280634674594E-2"/>
                  <c:y val="-8.9495979185480468E-2"/>
                </c:manualLayout>
              </c:layout>
              <c:showVal val="1"/>
            </c:dLbl>
            <c:dLbl>
              <c:idx val="2"/>
              <c:layout>
                <c:manualLayout>
                  <c:x val="7.3067517794844133E-2"/>
                  <c:y val="-9.5010075845018666E-2"/>
                </c:manualLayout>
              </c:layout>
              <c:showVal val="1"/>
            </c:dLbl>
            <c:spPr>
              <a:noFill/>
              <a:ln w="25355">
                <a:noFill/>
              </a:ln>
            </c:spPr>
            <c:txPr>
              <a:bodyPr/>
              <a:lstStyle/>
              <a:p>
                <a:pPr>
                  <a:defRPr sz="1098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showVal val="1"/>
          </c:dLbls>
          <c:cat>
            <c:strRef>
              <c:f>Sheet1!$B$1:$D$1</c:f>
              <c:strCache>
                <c:ptCount val="3"/>
                <c:pt idx="0">
                  <c:v>2018 г</c:v>
                </c:pt>
                <c:pt idx="1">
                  <c:v>2019 г</c:v>
                </c:pt>
                <c:pt idx="2">
                  <c:v>2020 г</c:v>
                </c:pt>
              </c:strCache>
            </c:strRef>
          </c:cat>
          <c:val>
            <c:numRef>
              <c:f>Sheet1!$B$2:$D$2</c:f>
              <c:numCache>
                <c:formatCode>#,##0.0</c:formatCode>
                <c:ptCount val="3"/>
                <c:pt idx="0">
                  <c:v>466.4</c:v>
                </c:pt>
                <c:pt idx="1">
                  <c:v>475.7</c:v>
                </c:pt>
                <c:pt idx="2">
                  <c:v>480.1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дотации</c:v>
                </c:pt>
              </c:strCache>
            </c:strRef>
          </c:tx>
          <c:spPr>
            <a:solidFill>
              <a:srgbClr val="FF6600"/>
            </a:solidFill>
            <a:ln w="25355">
              <a:noFill/>
            </a:ln>
          </c:spPr>
          <c:dLbls>
            <c:dLbl>
              <c:idx val="0"/>
              <c:layout>
                <c:manualLayout>
                  <c:x val="8.1224846894138267E-2"/>
                  <c:y val="-9.0742327854704513E-2"/>
                </c:manualLayout>
              </c:layout>
              <c:showVal val="1"/>
            </c:dLbl>
            <c:dLbl>
              <c:idx val="1"/>
              <c:layout>
                <c:manualLayout>
                  <c:x val="8.0153227374355998E-2"/>
                  <c:y val="-8.7651509649194048E-2"/>
                </c:manualLayout>
              </c:layout>
              <c:showVal val="1"/>
            </c:dLbl>
            <c:dLbl>
              <c:idx val="2"/>
              <c:layout>
                <c:manualLayout>
                  <c:x val="7.7883129192184333E-2"/>
                  <c:y val="-9.0004229666625524E-2"/>
                </c:manualLayout>
              </c:layout>
              <c:showVal val="1"/>
            </c:dLbl>
            <c:spPr>
              <a:noFill/>
              <a:ln w="25355">
                <a:noFill/>
              </a:ln>
            </c:spPr>
            <c:txPr>
              <a:bodyPr/>
              <a:lstStyle/>
              <a:p>
                <a:pPr>
                  <a:defRPr sz="1048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showVal val="1"/>
          </c:dLbls>
          <c:cat>
            <c:strRef>
              <c:f>Sheet1!$B$1:$D$1</c:f>
              <c:strCache>
                <c:ptCount val="3"/>
                <c:pt idx="0">
                  <c:v>2018 г</c:v>
                </c:pt>
                <c:pt idx="1">
                  <c:v>2019 г</c:v>
                </c:pt>
                <c:pt idx="2">
                  <c:v>2020 г</c:v>
                </c:pt>
              </c:strCache>
            </c:strRef>
          </c:cat>
          <c:val>
            <c:numRef>
              <c:f>Sheet1!$B$3:$D$3</c:f>
              <c:numCache>
                <c:formatCode>#,##0.0</c:formatCode>
                <c:ptCount val="3"/>
                <c:pt idx="0">
                  <c:v>81.2</c:v>
                </c:pt>
                <c:pt idx="1">
                  <c:v>56.4</c:v>
                </c:pt>
                <c:pt idx="2">
                  <c:v>54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прочие безвозмездные поступления</c:v>
                </c:pt>
              </c:strCache>
            </c:strRef>
          </c:tx>
          <c:spPr>
            <a:solidFill>
              <a:srgbClr val="99CC00"/>
            </a:solidFill>
            <a:ln w="25355">
              <a:noFill/>
            </a:ln>
          </c:spPr>
          <c:dLbls>
            <c:dLbl>
              <c:idx val="0"/>
              <c:layout>
                <c:manualLayout>
                  <c:x val="6.0764935247294306E-3"/>
                  <c:y val="8.4602813617818823E-3"/>
                </c:manualLayout>
              </c:layout>
              <c:showVal val="1"/>
            </c:dLbl>
            <c:dLbl>
              <c:idx val="1"/>
              <c:layout>
                <c:manualLayout>
                  <c:x val="-1.671257142239988E-3"/>
                  <c:y val="8.3528564734927854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0</a:t>
                    </a:r>
                    <a:r>
                      <a:rPr lang="ru-RU"/>
                      <a:t>,</a:t>
                    </a:r>
                    <a:r>
                      <a:rPr lang="en-US"/>
                      <a:t>0</a:t>
                    </a:r>
                  </a:p>
                </c:rich>
              </c:tx>
            </c:dLbl>
            <c:dLbl>
              <c:idx val="2"/>
              <c:layout>
                <c:manualLayout>
                  <c:x val="9.2576390914103114E-4"/>
                  <c:y val="8.3528564734927854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0</a:t>
                    </a:r>
                    <a:r>
                      <a:rPr lang="ru-RU"/>
                      <a:t>,0</a:t>
                    </a:r>
                    <a:endParaRPr lang="en-US"/>
                  </a:p>
                </c:rich>
              </c:tx>
            </c:dLbl>
            <c:spPr>
              <a:noFill/>
              <a:ln w="25355">
                <a:noFill/>
              </a:ln>
            </c:spPr>
            <c:txPr>
              <a:bodyPr/>
              <a:lstStyle/>
              <a:p>
                <a:pPr>
                  <a:defRPr sz="1098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showVal val="1"/>
          </c:dLbls>
          <c:cat>
            <c:strRef>
              <c:f>Sheet1!$B$1:$D$1</c:f>
              <c:strCache>
                <c:ptCount val="3"/>
                <c:pt idx="0">
                  <c:v>2018 г</c:v>
                </c:pt>
                <c:pt idx="1">
                  <c:v>2019 г</c:v>
                </c:pt>
                <c:pt idx="2">
                  <c:v>2020 г</c:v>
                </c:pt>
              </c:strCache>
            </c:strRef>
          </c:cat>
          <c:val>
            <c:numRef>
              <c:f>Sheet1!$B$4:$D$4</c:f>
              <c:numCache>
                <c:formatCode>General</c:formatCode>
                <c:ptCount val="3"/>
                <c:pt idx="0">
                  <c:v>0.60000000000000064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</c:ser>
        <c:ser>
          <c:idx val="4"/>
          <c:order val="3"/>
          <c:tx>
            <c:strRef>
              <c:f>Sheet1!$A$5</c:f>
              <c:strCache>
                <c:ptCount val="1"/>
                <c:pt idx="0">
                  <c:v>субсидии</c:v>
                </c:pt>
              </c:strCache>
            </c:strRef>
          </c:tx>
          <c:spPr>
            <a:solidFill>
              <a:srgbClr val="0000FF"/>
            </a:solidFill>
            <a:ln w="25355">
              <a:noFill/>
            </a:ln>
          </c:spPr>
          <c:dLbls>
            <c:dLbl>
              <c:idx val="0"/>
              <c:layout>
                <c:manualLayout>
                  <c:x val="7.0182268883056523E-2"/>
                  <c:y val="-8.5088417122032328E-2"/>
                </c:manualLayout>
              </c:layout>
              <c:showVal val="1"/>
            </c:dLbl>
            <c:dLbl>
              <c:idx val="1"/>
              <c:layout>
                <c:manualLayout>
                  <c:x val="7.7548362010304281E-2"/>
                  <c:y val="-8.0624623495588132E-2"/>
                </c:manualLayout>
              </c:layout>
              <c:showVal val="1"/>
            </c:dLbl>
            <c:dLbl>
              <c:idx val="2"/>
              <c:layout>
                <c:manualLayout>
                  <c:x val="7.6337367551279123E-2"/>
                  <c:y val="-8.9057297029407068E-2"/>
                </c:manualLayout>
              </c:layout>
              <c:showVal val="1"/>
            </c:dLbl>
            <c:spPr>
              <a:noFill/>
              <a:ln w="25355">
                <a:noFill/>
              </a:ln>
            </c:spPr>
            <c:txPr>
              <a:bodyPr/>
              <a:lstStyle/>
              <a:p>
                <a:pPr>
                  <a:defRPr sz="1098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showVal val="1"/>
          </c:dLbls>
          <c:cat>
            <c:strRef>
              <c:f>Sheet1!$B$1:$D$1</c:f>
              <c:strCache>
                <c:ptCount val="3"/>
                <c:pt idx="0">
                  <c:v>2018 г</c:v>
                </c:pt>
                <c:pt idx="1">
                  <c:v>2019 г</c:v>
                </c:pt>
                <c:pt idx="2">
                  <c:v>2020 г</c:v>
                </c:pt>
              </c:strCache>
            </c:strRef>
          </c:cat>
          <c:val>
            <c:numRef>
              <c:f>Sheet1!$B$5:$D$5</c:f>
              <c:numCache>
                <c:formatCode>#,##0.0</c:formatCode>
                <c:ptCount val="3"/>
                <c:pt idx="0">
                  <c:v>84.1</c:v>
                </c:pt>
                <c:pt idx="1">
                  <c:v>77.2</c:v>
                </c:pt>
                <c:pt idx="2">
                  <c:v>71.7</c:v>
                </c:pt>
              </c:numCache>
            </c:numRef>
          </c:val>
        </c:ser>
        <c:gapDepth val="0"/>
        <c:shape val="box"/>
        <c:axId val="83376768"/>
        <c:axId val="83513728"/>
        <c:axId val="0"/>
      </c:bar3DChart>
      <c:catAx>
        <c:axId val="83376768"/>
        <c:scaling>
          <c:orientation val="minMax"/>
        </c:scaling>
        <c:axPos val="b"/>
        <c:numFmt formatCode="General" sourceLinked="1"/>
        <c:tickLblPos val="low"/>
        <c:spPr>
          <a:ln w="316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48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83513728"/>
        <c:crosses val="autoZero"/>
        <c:auto val="1"/>
        <c:lblAlgn val="ctr"/>
        <c:lblOffset val="100"/>
        <c:tickLblSkip val="1"/>
        <c:tickMarkSkip val="1"/>
      </c:catAx>
      <c:valAx>
        <c:axId val="83513728"/>
        <c:scaling>
          <c:orientation val="minMax"/>
        </c:scaling>
        <c:delete val="1"/>
        <c:axPos val="l"/>
        <c:numFmt formatCode="#,##0.0" sourceLinked="1"/>
        <c:tickLblPos val="none"/>
        <c:crossAx val="83376768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79980633593640249"/>
          <c:y val="0.11736302374395055"/>
          <c:w val="0.19429592905825041"/>
          <c:h val="0.47987116632192445"/>
        </c:manualLayout>
      </c:layout>
      <c:spPr>
        <a:noFill/>
        <a:ln w="25355">
          <a:noFill/>
        </a:ln>
      </c:spPr>
      <c:txPr>
        <a:bodyPr/>
        <a:lstStyle/>
        <a:p>
          <a:pPr>
            <a:defRPr sz="1200" b="1" i="0" u="none" strike="noStrike" baseline="0">
              <a:solidFill>
                <a:schemeClr val="tx1"/>
              </a:solidFill>
              <a:latin typeface="Times New Roman"/>
              <a:ea typeface="Times New Roman"/>
              <a:cs typeface="Times New Roman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023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4"/>
  <c:chart>
    <c:autoTitleDeleted val="1"/>
    <c:view3D>
      <c:rotX val="33"/>
      <c:hPercent val="77"/>
      <c:rotY val="35"/>
      <c:depthPercent val="100"/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dPt>
            <c:idx val="1"/>
            <c:spPr>
              <a:solidFill>
                <a:schemeClr val="accent6">
                  <a:lumMod val="60000"/>
                  <a:lumOff val="40000"/>
                </a:schemeClr>
              </a:solidFill>
            </c:spPr>
          </c:dPt>
          <c:dPt>
            <c:idx val="2"/>
            <c:spPr>
              <a:solidFill>
                <a:srgbClr val="92D050"/>
              </a:solidFill>
            </c:spPr>
          </c:dPt>
          <c:dPt>
            <c:idx val="3"/>
            <c:spPr>
              <a:solidFill>
                <a:schemeClr val="accent4">
                  <a:lumMod val="75000"/>
                </a:schemeClr>
              </a:solidFill>
            </c:spPr>
          </c:dPt>
          <c:dPt>
            <c:idx val="4"/>
            <c:spPr>
              <a:solidFill>
                <a:srgbClr val="FFC000"/>
              </a:solidFill>
            </c:spPr>
          </c:dPt>
          <c:dLbls>
            <c:dLbl>
              <c:idx val="0"/>
              <c:layout>
                <c:manualLayout>
                  <c:x val="3.8647218331465082E-2"/>
                  <c:y val="-0.12018780527525109"/>
                </c:manualLayout>
              </c:layout>
              <c:showVal val="1"/>
            </c:dLbl>
            <c:dLbl>
              <c:idx val="1"/>
              <c:layout>
                <c:manualLayout>
                  <c:x val="6.6473215530119936E-2"/>
                  <c:y val="-9.8237242299829983E-2"/>
                </c:manualLayout>
              </c:layout>
              <c:showVal val="1"/>
            </c:dLbl>
            <c:dLbl>
              <c:idx val="2"/>
              <c:layout>
                <c:manualLayout>
                  <c:x val="8.0386214129447311E-2"/>
                  <c:y val="-0.11517998005544884"/>
                </c:manualLayout>
              </c:layout>
              <c:showVal val="1"/>
            </c:dLbl>
            <c:dLbl>
              <c:idx val="3"/>
              <c:layout>
                <c:manualLayout>
                  <c:x val="5.7197883130568533E-2"/>
                  <c:y val="-9.67729121046252E-2"/>
                </c:manualLayout>
              </c:layout>
              <c:showVal val="1"/>
            </c:dLbl>
            <c:dLbl>
              <c:idx val="4"/>
              <c:layout>
                <c:manualLayout>
                  <c:x val="8.6569769062481775E-2"/>
                  <c:y val="-0.10465676296956559"/>
                </c:manualLayout>
              </c:layout>
              <c:showVal val="1"/>
            </c:dLbl>
            <c:txPr>
              <a:bodyPr/>
              <a:lstStyle/>
              <a:p>
                <a:pPr>
                  <a:defRPr>
                    <a:solidFill>
                      <a:schemeClr val="tx1">
                        <a:lumMod val="85000"/>
                        <a:lumOff val="15000"/>
                      </a:schemeClr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Sheet1!$B$1:$F$1</c:f>
              <c:strCache>
                <c:ptCount val="5"/>
                <c:pt idx="0">
                  <c:v>2017 год</c:v>
                </c:pt>
                <c:pt idx="1">
                  <c:v>2018 год</c:v>
                </c:pt>
                <c:pt idx="2">
                  <c:v>2019 год</c:v>
                </c:pt>
                <c:pt idx="3">
                  <c:v>2020 год</c:v>
                </c:pt>
                <c:pt idx="4">
                  <c:v>2021 год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1499.2</c:v>
                </c:pt>
                <c:pt idx="1">
                  <c:v>1655.59</c:v>
                </c:pt>
                <c:pt idx="2">
                  <c:v>1478.6299999999999</c:v>
                </c:pt>
                <c:pt idx="3">
                  <c:v>1061.73</c:v>
                </c:pt>
                <c:pt idx="4">
                  <c:v>1069.5899999999999</c:v>
                </c:pt>
              </c:numCache>
            </c:numRef>
          </c:val>
        </c:ser>
        <c:dLbls>
          <c:showVal val="1"/>
        </c:dLbls>
        <c:gapWidth val="0"/>
        <c:gapDepth val="0"/>
        <c:shape val="box"/>
        <c:axId val="161311360"/>
        <c:axId val="161313152"/>
        <c:axId val="0"/>
      </c:bar3DChart>
      <c:catAx>
        <c:axId val="161311360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pPr>
            <a:endParaRPr lang="ru-RU"/>
          </a:p>
        </c:txPr>
        <c:crossAx val="161313152"/>
        <c:crosses val="autoZero"/>
        <c:auto val="1"/>
        <c:lblAlgn val="ctr"/>
        <c:lblOffset val="100"/>
        <c:tickLblSkip val="1"/>
        <c:tickMarkSkip val="1"/>
      </c:catAx>
      <c:valAx>
        <c:axId val="161313152"/>
        <c:scaling>
          <c:orientation val="minMax"/>
        </c:scaling>
        <c:delete val="1"/>
        <c:axPos val="l"/>
        <c:numFmt formatCode="General" sourceLinked="1"/>
        <c:tickLblPos val="none"/>
        <c:crossAx val="161311360"/>
        <c:crosses val="autoZero"/>
        <c:crossBetween val="between"/>
      </c:valAx>
      <c:spPr>
        <a:effectLst>
          <a:outerShdw blurRad="50800" dist="749300" dir="5400000" algn="ctr" rotWithShape="0">
            <a:srgbClr val="4F81BD">
              <a:lumMod val="75000"/>
            </a:srgbClr>
          </a:outerShdw>
        </a:effectLst>
      </c:spPr>
    </c:plotArea>
    <c:plotVisOnly val="1"/>
    <c:dispBlanksAs val="gap"/>
  </c:chart>
  <c:txPr>
    <a:bodyPr/>
    <a:lstStyle/>
    <a:p>
      <a:pPr>
        <a:defRPr sz="1800" b="1"/>
      </a:pPr>
      <a:endParaRPr lang="ru-RU"/>
    </a:p>
  </c:txPr>
  <c:externalData r:id="rId1"/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2.6399278215223435E-2"/>
          <c:y val="3.437500000000001E-2"/>
          <c:w val="0.93329866579177601"/>
          <c:h val="0.77676607195253733"/>
        </c:manualLayout>
      </c:layout>
      <c:bar3DChart>
        <c:barDir val="bar"/>
        <c:grouping val="percent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2018 г</c:v>
                </c:pt>
              </c:strCache>
            </c:strRef>
          </c:tx>
          <c:dLbls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111.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9 г</c:v>
                </c:pt>
              </c:strCache>
            </c:strRef>
          </c:tx>
          <c:dLbls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146.80000000000001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0 г</c:v>
                </c:pt>
              </c:strCache>
            </c:strRef>
          </c:tx>
          <c:dLbls>
            <c:dLbl>
              <c:idx val="0"/>
              <c:layout>
                <c:manualLayout>
                  <c:x val="2.7777777777777271E-3"/>
                  <c:y val="1.8177784457278627E-2"/>
                </c:manualLayout>
              </c:layout>
              <c:showVal val="1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15.5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2021 г</c:v>
                </c:pt>
              </c:strCache>
            </c:strRef>
          </c:tx>
          <c:dLbls>
            <c:dLbl>
              <c:idx val="0"/>
              <c:layout>
                <c:manualLayout>
                  <c:x val="2.777777777777826E-3"/>
                  <c:y val="-3.181112280023761E-2"/>
                </c:manualLayout>
              </c:layout>
              <c:showVal val="1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E$2</c:f>
              <c:numCache>
                <c:formatCode>General</c:formatCode>
                <c:ptCount val="1"/>
                <c:pt idx="0">
                  <c:v>15.5</c:v>
                </c:pt>
              </c:numCache>
            </c:numRef>
          </c:val>
        </c:ser>
        <c:shape val="cylinder"/>
        <c:axId val="193767296"/>
        <c:axId val="194073344"/>
        <c:axId val="0"/>
      </c:bar3DChart>
      <c:catAx>
        <c:axId val="193767296"/>
        <c:scaling>
          <c:orientation val="minMax"/>
        </c:scaling>
        <c:delete val="1"/>
        <c:axPos val="l"/>
        <c:tickLblPos val="none"/>
        <c:crossAx val="194073344"/>
        <c:crosses val="autoZero"/>
        <c:auto val="1"/>
        <c:lblAlgn val="ctr"/>
        <c:lblOffset val="100"/>
      </c:catAx>
      <c:valAx>
        <c:axId val="194073344"/>
        <c:scaling>
          <c:orientation val="minMax"/>
        </c:scaling>
        <c:delete val="1"/>
        <c:axPos val="b"/>
        <c:majorGridlines/>
        <c:numFmt formatCode="0%" sourceLinked="1"/>
        <c:tickLblPos val="none"/>
        <c:crossAx val="193767296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2400" b="1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2400" b="1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2400" b="1"/>
            </a:pPr>
            <a:endParaRPr lang="ru-RU"/>
          </a:p>
        </c:txPr>
      </c:legendEntry>
      <c:legendEntry>
        <c:idx val="3"/>
        <c:txPr>
          <a:bodyPr/>
          <a:lstStyle/>
          <a:p>
            <a:pPr>
              <a:defRPr sz="2400" b="1"/>
            </a:pPr>
            <a:endParaRPr lang="ru-RU"/>
          </a:p>
        </c:txPr>
      </c:legendEntry>
      <c:layout>
        <c:manualLayout>
          <c:xMode val="edge"/>
          <c:yMode val="edge"/>
          <c:x val="0"/>
          <c:y val="0.76619438976377963"/>
          <c:w val="0.99967235345581862"/>
          <c:h val="0.23323622047244263"/>
        </c:manualLayout>
      </c:layout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6.vml.rels><?xml version="1.0" encoding="UTF-8" standalone="yes"?>
<Relationships xmlns="http://schemas.openxmlformats.org/package/2006/relationships"><Relationship Id="rId2" Type="http://schemas.openxmlformats.org/officeDocument/2006/relationships/image" Target="../media/image56.emf"/><Relationship Id="rId1" Type="http://schemas.openxmlformats.org/officeDocument/2006/relationships/image" Target="../media/image55.png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png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png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png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image" Target="../media/image3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6386</cdr:x>
      <cdr:y>0.04415</cdr:y>
    </cdr:from>
    <cdr:to>
      <cdr:x>0.93842</cdr:x>
      <cdr:y>0.19968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6802842" y="219516"/>
          <a:ext cx="1554593" cy="77328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algn="ctr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none" lIns="91440" tIns="45720" rIns="91440" bIns="45720" anchor="t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ru-RU" sz="2000" b="1" i="0" u="none" strike="noStrike" baseline="0" dirty="0">
              <a:solidFill>
                <a:srgbClr val="000000"/>
              </a:solidFill>
              <a:latin typeface="Calibri"/>
              <a:cs typeface="Calibri"/>
            </a:rPr>
            <a:t>Млн.рублей</a:t>
          </a:r>
        </a:p>
        <a:p xmlns:a="http://schemas.openxmlformats.org/drawingml/2006/main">
          <a:pPr algn="l" rtl="0">
            <a:defRPr sz="1000"/>
          </a:pPr>
          <a:endParaRPr lang="ru-RU" sz="2350" b="1" i="0" u="none" strike="noStrike" baseline="0" dirty="0">
            <a:solidFill>
              <a:srgbClr val="000000"/>
            </a:solidFill>
            <a:latin typeface="Calibri"/>
            <a:cs typeface="Calibri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4</cdr:x>
      <cdr:y>0.44828</cdr:y>
    </cdr:from>
    <cdr:to>
      <cdr:x>0.44616</cdr:x>
      <cdr:y>0.67855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500066" y="928694"/>
          <a:ext cx="1093569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fr-FR"/>
          </a:defPPr>
          <a:lvl1pPr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1pPr>
          <a:lvl2pPr marL="4572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2pPr>
          <a:lvl3pPr marL="9144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3pPr>
          <a:lvl4pPr marL="13716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4pPr>
          <a:lvl5pPr marL="18288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5pPr>
          <a:lvl6pPr marL="22860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6pPr>
          <a:lvl7pPr marL="27432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7pPr>
          <a:lvl8pPr marL="32004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8pPr>
          <a:lvl9pPr marL="36576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9pPr>
        </a:lstStyle>
        <a:p xmlns:a="http://schemas.openxmlformats.org/drawingml/2006/main">
          <a:r>
            <a:rPr lang="ru-RU" sz="2500" dirty="0" smtClean="0"/>
            <a:t>48,6 %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6</cdr:x>
      <cdr:y>0.48276</cdr:y>
    </cdr:from>
    <cdr:to>
      <cdr:x>0.38672</cdr:x>
      <cdr:y>0.71303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571504" y="1000132"/>
          <a:ext cx="809837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2500" dirty="0" smtClean="0"/>
            <a:t>48 %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6</cdr:x>
      <cdr:y>0.51724</cdr:y>
    </cdr:from>
    <cdr:to>
      <cdr:x>0.43744</cdr:x>
      <cdr:y>0.74751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571504" y="1071570"/>
          <a:ext cx="990977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2500" dirty="0" smtClean="0"/>
            <a:t>50,8</a:t>
          </a:r>
          <a:r>
            <a:rPr lang="ru-RU" sz="2000" dirty="0" smtClean="0"/>
            <a:t> %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76386</cdr:x>
      <cdr:y>0.04415</cdr:y>
    </cdr:from>
    <cdr:to>
      <cdr:x>0.95317</cdr:x>
      <cdr:y>0.18825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6275369" y="233394"/>
          <a:ext cx="1555234" cy="76174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algn="ctr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none" lIns="91440" tIns="45720" rIns="91440" bIns="45720" anchor="t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ru-RU" sz="2000" b="1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Calibri"/>
              <a:cs typeface="Calibri"/>
            </a:rPr>
            <a:t>Млн.рублей</a:t>
          </a:r>
        </a:p>
        <a:p xmlns:a="http://schemas.openxmlformats.org/drawingml/2006/main">
          <a:pPr algn="l" rtl="0">
            <a:defRPr sz="1000"/>
          </a:pPr>
          <a:endParaRPr lang="ru-RU" sz="2350" b="1" i="0" u="none" strike="noStrike" baseline="0" dirty="0">
            <a:solidFill>
              <a:schemeClr val="tx1">
                <a:lumMod val="85000"/>
                <a:lumOff val="15000"/>
              </a:schemeClr>
            </a:solidFill>
            <a:latin typeface="Calibri"/>
            <a:cs typeface="Calibri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25588</cdr:x>
      <cdr:y>0.41751</cdr:y>
    </cdr:from>
    <cdr:to>
      <cdr:x>0.4211</cdr:x>
      <cdr:y>0.6257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39752" y="2664296"/>
          <a:ext cx="1510772" cy="13291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384965F-707A-4519-B564-3D3F1EFB0C57}" type="datetimeFigureOut">
              <a:rPr lang="fr-FR"/>
              <a:pPr>
                <a:defRPr/>
              </a:pPr>
              <a:t>30/01/2019</a:t>
            </a:fld>
            <a:endParaRPr lang="fr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CA" noProof="0" smtClean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CA" noProof="0" smtClean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BD269F5-E4B4-4C4B-B252-CC965B7930F2}" type="slidenum">
              <a:rPr lang="fr-CA"/>
              <a:pPr>
                <a:defRPr/>
              </a:pPr>
              <a:t>‹#›</a:t>
            </a:fld>
            <a:endParaRPr lang="fr-C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D269F5-E4B4-4C4B-B252-CC965B7930F2}" type="slidenum">
              <a:rPr lang="fr-CA" smtClean="0"/>
              <a:pPr>
                <a:defRPr/>
              </a:pPr>
              <a:t>10</a:t>
            </a:fld>
            <a:endParaRPr lang="fr-CA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445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83A77E5-D280-4570-A409-CAD5BC180871}" type="slidenum">
              <a:rPr lang="fr-CA" smtClean="0"/>
              <a:pPr>
                <a:defRPr/>
              </a:pPr>
              <a:t>11</a:t>
            </a:fld>
            <a:endParaRPr lang="fr-CA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547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332F500-E0D6-420F-872B-5FFDFA63DC73}" type="slidenum">
              <a:rPr lang="fr-CA" smtClean="0"/>
              <a:pPr>
                <a:defRPr/>
              </a:pPr>
              <a:t>12</a:t>
            </a:fld>
            <a:endParaRPr lang="fr-CA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649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161C133-730E-46BA-B594-B63251DBCEA3}" type="slidenum">
              <a:rPr lang="fr-CA" smtClean="0"/>
              <a:pPr>
                <a:defRPr/>
              </a:pPr>
              <a:t>13</a:t>
            </a:fld>
            <a:endParaRPr lang="fr-CA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752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C9255FD-D181-4EE9-B6DF-06C8E35F7302}" type="slidenum">
              <a:rPr lang="fr-CA" smtClean="0"/>
              <a:pPr>
                <a:defRPr/>
              </a:pPr>
              <a:t>14</a:t>
            </a:fld>
            <a:endParaRPr lang="fr-CA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85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54A7E36-AC24-4D5E-9D73-25D00BAE399B}" type="slidenum">
              <a:rPr lang="fr-CA" smtClean="0"/>
              <a:pPr>
                <a:defRPr/>
              </a:pPr>
              <a:t>15</a:t>
            </a:fld>
            <a:endParaRPr lang="fr-CA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30/01/2019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30/01/2019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30/01/2019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457E99-346B-4970-A0C9-D726856D9DE6}" type="datetimeFigureOut">
              <a:rPr lang="fr-FR"/>
              <a:pPr>
                <a:defRPr/>
              </a:pPr>
              <a:t>30/01/2019</a:t>
            </a:fld>
            <a:endParaRPr lang="fr-CA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992A85-5947-46F2-98AB-4188733B85EF}" type="slidenum">
              <a:rPr lang="fr-CA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30/01/2019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30/01/2019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30/01/2019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30/01/2019</a:t>
            </a:fld>
            <a:endParaRPr lang="fr-CA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30/01/2019</a:t>
            </a:fld>
            <a:endParaRPr lang="fr-CA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30/01/2019</a:t>
            </a:fld>
            <a:endParaRPr lang="fr-CA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30/01/2019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30/01/2019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30/01/2019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jpeg"/><Relationship Id="rId4" Type="http://schemas.openxmlformats.org/officeDocument/2006/relationships/chart" Target="../charts/chart1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8.pn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chart" Target="../charts/chart10.xml"/><Relationship Id="rId5" Type="http://schemas.openxmlformats.org/officeDocument/2006/relationships/image" Target="../media/image3.jpeg"/><Relationship Id="rId4" Type="http://schemas.openxmlformats.org/officeDocument/2006/relationships/image" Target="../media/image1.jpeg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jpeg"/><Relationship Id="rId5" Type="http://schemas.openxmlformats.org/officeDocument/2006/relationships/oleObject" Target="../embeddings/_____Microsoft_Office_Excel_97-20031.xls"/><Relationship Id="rId4" Type="http://schemas.openxmlformats.org/officeDocument/2006/relationships/image" Target="../media/image1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oleObject" Target="../embeddings/_____Microsoft_Office_Excel_97-20032.xls"/><Relationship Id="rId4" Type="http://schemas.openxmlformats.org/officeDocument/2006/relationships/image" Target="../media/image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_____Microsoft_Office_Excel_97-20033.xls"/><Relationship Id="rId4" Type="http://schemas.openxmlformats.org/officeDocument/2006/relationships/image" Target="../media/image3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8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image" Target="../media/image3.jpeg"/><Relationship Id="rId7" Type="http://schemas.openxmlformats.org/officeDocument/2006/relationships/chart" Target="../charts/chart4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image" Target="../media/image18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0.jpeg"/><Relationship Id="rId4" Type="http://schemas.openxmlformats.org/officeDocument/2006/relationships/oleObject" Target="../embeddings/_____Microsoft_Office_Excel_97-20034.xls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0.jpeg"/><Relationship Id="rId4" Type="http://schemas.openxmlformats.org/officeDocument/2006/relationships/oleObject" Target="../embeddings/_____Microsoft_Office_Excel_97-20035.xls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0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10" Type="http://schemas.openxmlformats.org/officeDocument/2006/relationships/image" Target="../media/image3.jpeg"/><Relationship Id="rId4" Type="http://schemas.openxmlformats.org/officeDocument/2006/relationships/image" Target="../media/image23.jpeg"/><Relationship Id="rId9" Type="http://schemas.openxmlformats.org/officeDocument/2006/relationships/image" Target="../media/image28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jpeg"/><Relationship Id="rId4" Type="http://schemas.openxmlformats.org/officeDocument/2006/relationships/oleObject" Target="../embeddings/_____Microsoft_Office_Excel_97-20036.xls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oleObject" Target="../embeddings/_____Microsoft_Office_Excel_97-20038.xls"/><Relationship Id="rId4" Type="http://schemas.openxmlformats.org/officeDocument/2006/relationships/oleObject" Target="../embeddings/_____Microsoft_Office_Excel_97-20037.xls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4.jpeg"/><Relationship Id="rId5" Type="http://schemas.openxmlformats.org/officeDocument/2006/relationships/image" Target="../media/image3.jpeg"/><Relationship Id="rId4" Type="http://schemas.openxmlformats.org/officeDocument/2006/relationships/oleObject" Target="../embeddings/_____Microsoft_Office_Excel_97-20039.xls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_____Microsoft_Office_Excel_97-200310.xls"/><Relationship Id="rId5" Type="http://schemas.openxmlformats.org/officeDocument/2006/relationships/image" Target="../media/image36.png"/><Relationship Id="rId4" Type="http://schemas.openxmlformats.org/officeDocument/2006/relationships/image" Target="../media/image3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7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40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9.jpeg"/><Relationship Id="rId5" Type="http://schemas.openxmlformats.org/officeDocument/2006/relationships/image" Target="../media/image3.jpeg"/><Relationship Id="rId4" Type="http://schemas.openxmlformats.org/officeDocument/2006/relationships/oleObject" Target="../embeddings/_____Microsoft_Office_Excel_97-200311.xls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2.jpeg"/><Relationship Id="rId5" Type="http://schemas.openxmlformats.org/officeDocument/2006/relationships/oleObject" Target="../embeddings/_____Microsoft_Office_Excel_97-200312.xls"/><Relationship Id="rId4" Type="http://schemas.openxmlformats.org/officeDocument/2006/relationships/image" Target="../media/image3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3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jpeg"/><Relationship Id="rId4" Type="http://schemas.openxmlformats.org/officeDocument/2006/relationships/oleObject" Target="../embeddings/_____Microsoft_Office_Excel_97-200313.xls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6.png"/><Relationship Id="rId5" Type="http://schemas.openxmlformats.org/officeDocument/2006/relationships/oleObject" Target="../embeddings/_____Microsoft_Office_Excel_97-200314.xls"/><Relationship Id="rId4" Type="http://schemas.openxmlformats.org/officeDocument/2006/relationships/image" Target="../media/image3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7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8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9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1.jpeg"/><Relationship Id="rId5" Type="http://schemas.openxmlformats.org/officeDocument/2006/relationships/image" Target="../media/image3.jpeg"/><Relationship Id="rId4" Type="http://schemas.openxmlformats.org/officeDocument/2006/relationships/oleObject" Target="../embeddings/_____Microsoft_Office_Excel_97-200315.xls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4.jpeg"/><Relationship Id="rId5" Type="http://schemas.openxmlformats.org/officeDocument/2006/relationships/oleObject" Target="../embeddings/_____Microsoft_Office_Excel_97-200316.xls"/><Relationship Id="rId4" Type="http://schemas.openxmlformats.org/officeDocument/2006/relationships/image" Target="../media/image3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jpeg"/><Relationship Id="rId5" Type="http://schemas.openxmlformats.org/officeDocument/2006/relationships/oleObject" Target="../embeddings/_____Microsoft_Office_Excel_97-200318.xls"/><Relationship Id="rId4" Type="http://schemas.openxmlformats.org/officeDocument/2006/relationships/oleObject" Target="../embeddings/_____Microsoft_Office_Excel_97-200317.xls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0.jpeg"/><Relationship Id="rId4" Type="http://schemas.openxmlformats.org/officeDocument/2006/relationships/oleObject" Target="../embeddings/_____Microsoft_Office_Excel_97-200319.xls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3.jpeg"/><Relationship Id="rId7" Type="http://schemas.openxmlformats.org/officeDocument/2006/relationships/image" Target="../media/image1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jpeg"/><Relationship Id="rId9" Type="http://schemas.openxmlformats.org/officeDocument/2006/relationships/image" Target="../media/image14.jpe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slideLayout" Target="../slideLayouts/slideLayout7.xml"/><Relationship Id="rId3" Type="http://schemas.openxmlformats.org/officeDocument/2006/relationships/tags" Target="../tags/tag3.xml"/><Relationship Id="rId21" Type="http://schemas.openxmlformats.org/officeDocument/2006/relationships/image" Target="../media/image58.jpe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3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image" Target="../media/image1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59.jpe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26" Type="http://schemas.openxmlformats.org/officeDocument/2006/relationships/tags" Target="../tags/tag43.xml"/><Relationship Id="rId39" Type="http://schemas.openxmlformats.org/officeDocument/2006/relationships/image" Target="../media/image62.png"/><Relationship Id="rId3" Type="http://schemas.openxmlformats.org/officeDocument/2006/relationships/tags" Target="../tags/tag20.xml"/><Relationship Id="rId21" Type="http://schemas.openxmlformats.org/officeDocument/2006/relationships/tags" Target="../tags/tag38.xml"/><Relationship Id="rId34" Type="http://schemas.openxmlformats.org/officeDocument/2006/relationships/tags" Target="../tags/tag51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tags" Target="../tags/tag42.xml"/><Relationship Id="rId33" Type="http://schemas.openxmlformats.org/officeDocument/2006/relationships/tags" Target="../tags/tag50.xml"/><Relationship Id="rId38" Type="http://schemas.openxmlformats.org/officeDocument/2006/relationships/image" Target="../media/image61.png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29" Type="http://schemas.openxmlformats.org/officeDocument/2006/relationships/tags" Target="../tags/tag46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tags" Target="../tags/tag41.xml"/><Relationship Id="rId32" Type="http://schemas.openxmlformats.org/officeDocument/2006/relationships/tags" Target="../tags/tag49.xml"/><Relationship Id="rId37" Type="http://schemas.openxmlformats.org/officeDocument/2006/relationships/image" Target="../media/image60.png"/><Relationship Id="rId40" Type="http://schemas.openxmlformats.org/officeDocument/2006/relationships/image" Target="../media/image3.jpeg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tags" Target="../tags/tag40.xml"/><Relationship Id="rId28" Type="http://schemas.openxmlformats.org/officeDocument/2006/relationships/tags" Target="../tags/tag45.xml"/><Relationship Id="rId36" Type="http://schemas.openxmlformats.org/officeDocument/2006/relationships/image" Target="../media/image1.jpeg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31" Type="http://schemas.openxmlformats.org/officeDocument/2006/relationships/tags" Target="../tags/tag48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Relationship Id="rId27" Type="http://schemas.openxmlformats.org/officeDocument/2006/relationships/tags" Target="../tags/tag44.xml"/><Relationship Id="rId30" Type="http://schemas.openxmlformats.org/officeDocument/2006/relationships/tags" Target="../tags/tag47.xml"/><Relationship Id="rId35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tags" Target="../tags/tag54.xml"/><Relationship Id="rId7" Type="http://schemas.openxmlformats.org/officeDocument/2006/relationships/image" Target="../media/image63.png"/><Relationship Id="rId12" Type="http://schemas.openxmlformats.org/officeDocument/2006/relationships/image" Target="../media/image3.jpe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jpeg"/><Relationship Id="rId11" Type="http://schemas.openxmlformats.org/officeDocument/2006/relationships/image" Target="../media/image67.pn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66.png"/><Relationship Id="rId4" Type="http://schemas.openxmlformats.org/officeDocument/2006/relationships/tags" Target="../tags/tag55.xml"/><Relationship Id="rId9" Type="http://schemas.openxmlformats.org/officeDocument/2006/relationships/image" Target="../media/image65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.jpeg"/><Relationship Id="rId4" Type="http://schemas.openxmlformats.org/officeDocument/2006/relationships/oleObject" Target="../embeddings/_____Microsoft_Office_Excel_97-200320.xls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.jpeg"/><Relationship Id="rId4" Type="http://schemas.openxmlformats.org/officeDocument/2006/relationships/oleObject" Target="../embeddings/_____Microsoft_Office_Excel_97-200321.xls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jpeg"/><Relationship Id="rId4" Type="http://schemas.openxmlformats.org/officeDocument/2006/relationships/oleObject" Target="../embeddings/_____Microsoft_Office_Excel_97-200322.xls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3.jpeg"/><Relationship Id="rId4" Type="http://schemas.openxmlformats.org/officeDocument/2006/relationships/oleObject" Target="../embeddings/_____Microsoft_Office_Excel_97-200323.xls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.jpeg"/><Relationship Id="rId4" Type="http://schemas.openxmlformats.org/officeDocument/2006/relationships/oleObject" Target="../embeddings/_____Microsoft_Office_Excel_97-200324.xls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pic>
        <p:nvPicPr>
          <p:cNvPr id="27651" name="Picture 7" descr="герб-прозр фон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4313" y="214313"/>
            <a:ext cx="1571625" cy="200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3000375" y="2786063"/>
            <a:ext cx="6477000" cy="192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28681" name="Rectangle 4"/>
          <p:cNvSpPr>
            <a:spLocks noChangeArrowheads="1"/>
          </p:cNvSpPr>
          <p:nvPr/>
        </p:nvSpPr>
        <p:spPr bwMode="auto">
          <a:xfrm>
            <a:off x="2252663" y="231775"/>
            <a:ext cx="624840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ФИНАНСОВОЕ УПРАВЛЕНИЕ АДМИНИСТРАЦИИ </a:t>
            </a:r>
            <a:b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ГОРОДА-КУРОРТА ЖЕЛЕЗНОВОДСКА СТАВРОПОЛЬСКОГО КРАЯ</a:t>
            </a:r>
            <a:b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</a:br>
            <a:endParaRPr lang="ru-RU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928662" y="3071810"/>
            <a:ext cx="7429552" cy="2857520"/>
          </a:xfrm>
          <a:prstGeom prst="roundRect">
            <a:avLst/>
          </a:prstGeom>
          <a:solidFill>
            <a:srgbClr val="92D050">
              <a:alpha val="8000"/>
            </a:srgb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28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>
              <a:defRPr/>
            </a:pP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ОТКРЫТЫЙ БЮДЖЕТ ДЛЯ ГРАЖДАН по </a:t>
            </a:r>
            <a:r>
              <a:rPr lang="ru-RU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решению</a:t>
            </a: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</a:b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«О бюджете города-курорта Железноводска Ставропольского края на 2019 год и плановый период 2020-2021 годов»</a:t>
            </a:r>
          </a:p>
          <a:p>
            <a:pPr>
              <a:defRPr/>
            </a:pPr>
            <a:endParaRPr lang="ru-RU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graphicFrame>
        <p:nvGraphicFramePr>
          <p:cNvPr id="6" name="Object 92"/>
          <p:cNvGraphicFramePr>
            <a:graphicFrameLocks noGrp="1" noChangeAspect="1"/>
          </p:cNvGraphicFramePr>
          <p:nvPr>
            <p:ph idx="1"/>
          </p:nvPr>
        </p:nvGraphicFramePr>
        <p:xfrm>
          <a:off x="142875" y="1785938"/>
          <a:ext cx="9001125" cy="5072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3686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142976" y="214290"/>
            <a:ext cx="7786742" cy="1143008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характеристик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бюджета города-курорта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Железноводска Ставропольского края на 2019 год и плановый период 2020 и 2021 годов в сравнении с 2017 и 2018 годами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142985"/>
            <a:ext cx="849630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0035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85781" y="1412897"/>
          <a:ext cx="8643937" cy="5302251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806450"/>
                <a:gridCol w="2306637"/>
                <a:gridCol w="595313"/>
                <a:gridCol w="842962"/>
                <a:gridCol w="842963"/>
                <a:gridCol w="765175"/>
                <a:gridCol w="690562"/>
                <a:gridCol w="896938"/>
                <a:gridCol w="896937"/>
              </a:tblGrid>
              <a:tr h="17145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а измерен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143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017 г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</a:tr>
              <a:tr h="179388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I. Цель 1 «Повышение уровня благоустройства территорий города-курорта Железноводска Ставропольского края.»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6036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Цель 2 Программы: «Повышение уровня благоустройства объектов курортной инфраструктуры города-курорта Железноводска Ставропольского края»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60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дикаторы достижения цели Программ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</a:tr>
              <a:tr h="360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одержание и ремонт объектов курортной инфраструктуры 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в. м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 44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 22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 22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 2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 22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 22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</a:tr>
              <a:tr h="5397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троительство и реконструкция объектов курортной инфраструктур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в. м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</a:tr>
              <a:tr h="185738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2: «Развитие курортной инфраструктуры в городе-курорте Железноводске Ставропольского края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161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2 Программы: «Организация содержания и ремонта объектов курортной инфраструктуры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429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</a:tr>
              <a:tr h="6000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одержание объектов курортной инфраструктуры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</a:tr>
              <a:tr h="6858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Ремонт объектов курортной инфраструктуры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</a:tr>
              <a:tr h="7461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Реконструкция объектов курортной инфраструктуры на территор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</a:tr>
            </a:tbl>
          </a:graphicData>
        </a:graphic>
      </p:graphicFrame>
      <p:pic>
        <p:nvPicPr>
          <p:cNvPr id="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142852"/>
            <a:ext cx="7858180" cy="857256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Формирование современной городской среды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101379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sp>
        <p:nvSpPr>
          <p:cNvPr id="101380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57188" y="1357298"/>
          <a:ext cx="8572500" cy="5077806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339725"/>
                <a:gridCol w="2232013"/>
                <a:gridCol w="1214446"/>
                <a:gridCol w="1143003"/>
                <a:gridCol w="142875"/>
                <a:gridCol w="500063"/>
                <a:gridCol w="163512"/>
                <a:gridCol w="336550"/>
                <a:gridCol w="157163"/>
                <a:gridCol w="271462"/>
                <a:gridCol w="220663"/>
                <a:gridCol w="850900"/>
                <a:gridCol w="1000125"/>
              </a:tblGrid>
              <a:tr h="66269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сточник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нансирова-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бюджетных ассигнований по годам (тыс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ок ввода в эксплуатацию объекта капитального строительства срок подготовки проектной документа -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  <a:tr h="89176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8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92022">
                <a:tc gridSpan="1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I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Бюджетные инвестиции в объекты капитального строительства муниципальной собственности города-курорта Железноводска Ставропольского края и (или) на приобретение объектов недвижимого имущества в муниципальную собственность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9780">
                <a:tc gridSpan="1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драздел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I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Муниципальная программа «Развитие экономики города-курорта Железноводска Ставропольского края» (ответственный исполнитель – администрация города-курорта Железноводска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838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еконструкция тренировочной площадки на стадионе «Капельница», Ставропольский край, г.Железноводск, пос.Капельница, ул. Южн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правление городского хозяй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юджет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,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0 мес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.11.2017</a:t>
                      </a:r>
                    </a:p>
                  </a:txBody>
                  <a:tcPr marL="36821" marR="36821" marT="0" marB="0" anchor="ctr" horzOverflow="overflow"/>
                </a:tc>
              </a:tr>
              <a:tr h="51380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юджет Ставропольского края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2,51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  <a:tr h="27201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</a:t>
                      </a:r>
                    </a:p>
                  </a:txBody>
                  <a:tcPr marL="36821" marR="36821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еконструкция тренировочной площадки на стадионе «Спартак», Ставропольский край, г.Железноводск, ул. Калинина, д.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правление городского хозяй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юджет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,87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0 мес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.12.2017</a:t>
                      </a:r>
                    </a:p>
                  </a:txBody>
                  <a:tcPr marL="36821" marR="36821" marT="0" marB="0" anchor="ctr" horzOverflow="overflow"/>
                </a:tc>
              </a:tr>
              <a:tr h="571504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юджет Ставропольского края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5,11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того по разделу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I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сего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0,69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  <a:tr h="15430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том числе:</a:t>
                      </a: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юджет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,07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  <a:tr h="24295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юджет Ставропольского края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97,62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142852"/>
            <a:ext cx="7643866" cy="857256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на 2018 год и плановый период 2019 и 2020 годов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101379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sp>
        <p:nvSpPr>
          <p:cNvPr id="101380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57188" y="1228162"/>
          <a:ext cx="8572500" cy="5414341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339725"/>
                <a:gridCol w="2303451"/>
                <a:gridCol w="1285884"/>
                <a:gridCol w="1000127"/>
                <a:gridCol w="142875"/>
                <a:gridCol w="500063"/>
                <a:gridCol w="163512"/>
                <a:gridCol w="336550"/>
                <a:gridCol w="285765"/>
                <a:gridCol w="142860"/>
                <a:gridCol w="220663"/>
                <a:gridCol w="850900"/>
                <a:gridCol w="1000125"/>
              </a:tblGrid>
              <a:tr h="66269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сточник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нан-сирова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бюджетных ассигнований по годам (тыс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ок ввода в эксплуатацию объекта капитального строительства срок подготовки проектной документа -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  <a:tr h="89176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8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9780">
                <a:tc gridSpan="1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драздел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II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Муниципальная программа «Развитие экономики в городе-курорте Железноводске Ставропольского края» (ответственный исполнитель – администрация города-курорта Железноводска Ставропольского края (отдел по экономике, торговле, инвестициям, курорту и туризму)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03496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rowSpan="3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роительство кабельной линии электропередачи 10 кВ от трансформаторной подстанции 187 филиала «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Железноводские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электрические сети» для технологического присоединения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энергопринимающих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устройст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правление городского хозяй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,4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18,3 метров протяженность кабельной линии</a:t>
                      </a:r>
                    </a:p>
                  </a:txBody>
                  <a:tcPr marL="36821" marR="36821" marT="0" marB="0" anchor="ctr" horzOverflow="overflow"/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8 год</a:t>
                      </a:r>
                    </a:p>
                  </a:txBody>
                  <a:tcPr marL="36821" marR="36821" marT="0" marB="0" anchor="ctr" horzOverflow="overflow"/>
                </a:tc>
              </a:tr>
              <a:tr h="52662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юджет Ставропольского края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,45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  <a:tr h="330634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едеральный бюджет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32,74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  <a:tr h="79859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еконструкция проспекта Свободы от ул. Гагарина до спортивно-оздоровительной зоны отдыха «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аррас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»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с.Иноземцево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г.Железноводск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правление городского хозяй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0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10 метров</a:t>
                      </a: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од</a:t>
                      </a:r>
                    </a:p>
                  </a:txBody>
                  <a:tcPr marL="36821" marR="36821" marT="0" marB="0" anchor="ctr" horzOverflow="overflow"/>
                </a:tc>
              </a:tr>
              <a:tr h="27177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того по разделу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II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сего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41,59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0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  <a:tr h="21176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том числе:</a:t>
                      </a: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юджет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,4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0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  <a:tr h="4375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юджет Ставропольского края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1,45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  <a:tr h="33750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едеральный бюджет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32,74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142852"/>
            <a:ext cx="7643866" cy="857256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на 2018 год и плановый период 2019 и 2020 годов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101379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sp>
        <p:nvSpPr>
          <p:cNvPr id="101380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57188" y="1411732"/>
          <a:ext cx="8572500" cy="3970939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339725"/>
                <a:gridCol w="2303451"/>
                <a:gridCol w="1285884"/>
                <a:gridCol w="1000127"/>
                <a:gridCol w="642938"/>
                <a:gridCol w="163512"/>
                <a:gridCol w="336550"/>
                <a:gridCol w="157163"/>
                <a:gridCol w="271462"/>
                <a:gridCol w="220663"/>
                <a:gridCol w="850900"/>
                <a:gridCol w="1000125"/>
              </a:tblGrid>
              <a:tr h="66269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сточник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нан-сирова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бюджетных ассигнований по годам (тыс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ок ввода в эксплуатацию объекта капитального строительства срок подготовки проектной документа -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  <a:tr h="89176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8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9780">
                <a:tc gridSpan="1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III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Муниципальная программа «Развитие жилищно-коммунального хозяйства в городе-курорте Железноводске Ставропольского края» (ответственный исполнитель – Управление городского хозяйства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915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иобретение благоустроенного жилого помещения в муниципальную собственност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Администрация города-курорта Железноводска</a:t>
                      </a: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5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квартира</a:t>
                      </a: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8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  <a:tr h="70588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.</a:t>
                      </a: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роительство хозяйственно-бытовых канализаций по улице Розы Люксембург, в том числе проектно-сметная документация</a:t>
                      </a: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правление городского хозяй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6,88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0 метров</a:t>
                      </a: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8</a:t>
                      </a:r>
                    </a:p>
                  </a:txBody>
                  <a:tcPr marL="36821" marR="36821" marT="0" marB="0" anchor="ctr" horzOverflow="overflow"/>
                </a:tc>
              </a:tr>
              <a:tr h="3439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того по разделу</a:t>
                      </a: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сего</a:t>
                      </a:r>
                    </a:p>
                  </a:txBody>
                  <a:tcPr marL="36821" marR="36821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76,88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  <a:tr h="3952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том числе</a:t>
                      </a: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endParaRPr lang="ru-RU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76,88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36821" marR="3682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857256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на 2018 год и плановый период 2019 и 2020 годов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25607" name="Text Box 7"/>
          <p:cNvSpPr txBox="1">
            <a:spLocks noChangeArrowheads="1"/>
          </p:cNvSpPr>
          <p:nvPr/>
        </p:nvSpPr>
        <p:spPr bwMode="auto">
          <a:xfrm>
            <a:off x="7643834" y="1714488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Содержимое 8"/>
          <p:cNvGraphicFramePr>
            <a:graphicFrameLocks noGrp="1"/>
          </p:cNvGraphicFramePr>
          <p:nvPr>
            <p:ph/>
            <p:custDataLst>
              <p:tags r:id="rId1"/>
            </p:custDataLst>
            <p:extLst>
              <p:ext uri="{D42A27DB-BD31-4B8C-83A1-F6EECF244321}">
                <p14:modId xmlns="" xmlns:p14="http://schemas.microsoft.com/office/powerpoint/2010/main" val="1418681561"/>
              </p:ext>
            </p:extLst>
          </p:nvPr>
        </p:nvGraphicFramePr>
        <p:xfrm>
          <a:off x="500034" y="1006475"/>
          <a:ext cx="8229600" cy="47085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10" name="Picture 6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rot="12563652">
            <a:off x="3328217" y="1691173"/>
            <a:ext cx="5260589" cy="1551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>
              <a:rot lat="0" lon="10800000" rev="0"/>
            </a:camera>
            <a:lightRig rig="threePt" dir="t"/>
          </a:scene3d>
        </p:spPr>
      </p:pic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428728" y="142852"/>
            <a:ext cx="7215238" cy="100013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Уровень долговой нагрузки на бюджет </a:t>
            </a:r>
          </a:p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города-курорта Железноводска Ставропольского края</a:t>
            </a:r>
            <a:endParaRPr lang="ru-RU" dirty="0" smtClean="0">
              <a:solidFill>
                <a:schemeClr val="bg1"/>
              </a:solidFill>
            </a:endParaRPr>
          </a:p>
          <a:p>
            <a:pPr algn="ctr">
              <a:defRPr/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42844" y="5000636"/>
            <a:ext cx="8858312" cy="1714512"/>
          </a:xfrm>
          <a:prstGeom prst="roundRect">
            <a:avLst/>
          </a:prstGeom>
          <a:solidFill>
            <a:schemeClr val="accent1">
              <a:alpha val="6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600" dirty="0" smtClean="0">
                <a:solidFill>
                  <a:schemeClr val="tx1"/>
                </a:solidFill>
              </a:rPr>
              <a:t>В 2019 году планируется привлечение бюджетного кредита в сумме 30,0 млн. рублей при наличии кассового разрыва с погашением в течении 2019 года, а также банковского кредита в сумме  10,0 млн. рублей на кассовый разрыв с погашением в течении 2019 года.</a:t>
            </a:r>
          </a:p>
          <a:p>
            <a:pPr algn="just"/>
            <a:r>
              <a:rPr lang="ru-RU" sz="1600" dirty="0" smtClean="0">
                <a:solidFill>
                  <a:schemeClr val="tx1"/>
                </a:solidFill>
              </a:rPr>
              <a:t>Погашение заемных средств в 2020 году планируется по банковским кредитам в сумме  5,0 млн. рублей, по бюджетному кредиту – 3,3 млн. рублей.</a:t>
            </a:r>
          </a:p>
          <a:p>
            <a:pPr algn="just"/>
            <a:r>
              <a:rPr lang="x-none" sz="1600" smtClean="0">
                <a:solidFill>
                  <a:schemeClr val="tx1"/>
                </a:solidFill>
              </a:rPr>
              <a:t>По состоянию на 01.01.202</a:t>
            </a:r>
            <a:r>
              <a:rPr lang="ru-RU" sz="1600" dirty="0" smtClean="0">
                <a:solidFill>
                  <a:schemeClr val="tx1"/>
                </a:solidFill>
              </a:rPr>
              <a:t>1</a:t>
            </a:r>
            <a:r>
              <a:rPr lang="x-none" sz="1600" smtClean="0">
                <a:solidFill>
                  <a:schemeClr val="tx1"/>
                </a:solidFill>
              </a:rPr>
              <a:t> года задолженност</a:t>
            </a:r>
            <a:r>
              <a:rPr lang="ru-RU" sz="1600" dirty="0" err="1" smtClean="0">
                <a:solidFill>
                  <a:schemeClr val="tx1"/>
                </a:solidFill>
              </a:rPr>
              <a:t>ь</a:t>
            </a:r>
            <a:r>
              <a:rPr lang="x-none" sz="1600" smtClean="0">
                <a:solidFill>
                  <a:schemeClr val="tx1"/>
                </a:solidFill>
              </a:rPr>
              <a:t> бюджета города-курорта Железноводска Ставропольского края</a:t>
            </a:r>
            <a:r>
              <a:rPr lang="ru-RU" sz="1600" dirty="0" smtClean="0">
                <a:solidFill>
                  <a:schemeClr val="tx1"/>
                </a:solidFill>
              </a:rPr>
              <a:t> по муниципальному долгу отсутствует.</a:t>
            </a:r>
            <a:endParaRPr lang="ru-RU" sz="16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10" name="Rectangle 8"/>
          <p:cNvSpPr txBox="1">
            <a:spLocks noChangeArrowheads="1"/>
          </p:cNvSpPr>
          <p:nvPr/>
        </p:nvSpPr>
        <p:spPr bwMode="auto">
          <a:xfrm>
            <a:off x="785786" y="1071546"/>
            <a:ext cx="7929619" cy="5210172"/>
          </a:xfrm>
          <a:prstGeom prst="rect">
            <a:avLst/>
          </a:prstGeom>
          <a:gradFill flip="none" rotWithShape="1">
            <a:gsLst>
              <a:gs pos="44000">
                <a:schemeClr val="accent1">
                  <a:shade val="30000"/>
                  <a:satMod val="115000"/>
                  <a:alpha val="62000"/>
                </a:schemeClr>
              </a:gs>
              <a:gs pos="50000">
                <a:schemeClr val="accent1">
                  <a:shade val="67500"/>
                  <a:satMod val="115000"/>
                  <a:alpha val="61000"/>
                </a:schemeClr>
              </a:gs>
              <a:gs pos="100000">
                <a:schemeClr val="accent1">
                  <a:shade val="100000"/>
                  <a:satMod val="115000"/>
                  <a:alpha val="45000"/>
                </a:schemeClr>
              </a:gs>
            </a:gsLst>
            <a:lin ang="1350000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3200" b="1" dirty="0">
                <a:solidFill>
                  <a:schemeClr val="bg1"/>
                </a:solidFill>
              </a:rPr>
              <a:t>Контактная информация </a:t>
            </a:r>
          </a:p>
          <a:p>
            <a:pPr algn="ctr">
              <a:defRPr/>
            </a:pPr>
            <a:endParaRPr lang="ru-RU" sz="1400" b="1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ru-RU" sz="3200" i="1" dirty="0">
                <a:solidFill>
                  <a:schemeClr val="bg1"/>
                </a:solidFill>
              </a:rPr>
              <a:t>Финансового управления администрации города-курорта Железноводска Ставропольского края</a:t>
            </a:r>
          </a:p>
          <a:p>
            <a:pPr>
              <a:defRPr/>
            </a:pPr>
            <a:endParaRPr lang="ru-RU" sz="3200" b="1" dirty="0">
              <a:solidFill>
                <a:schemeClr val="bg1"/>
              </a:solidFill>
            </a:endParaRPr>
          </a:p>
          <a:p>
            <a:pPr marL="1160463" indent="-1160463">
              <a:defRPr/>
            </a:pPr>
            <a:r>
              <a:rPr lang="ru-RU" sz="2400" b="1" dirty="0">
                <a:solidFill>
                  <a:schemeClr val="bg1"/>
                </a:solidFill>
              </a:rPr>
              <a:t>Адрес:</a:t>
            </a:r>
            <a:r>
              <a:rPr lang="ru-RU" sz="2400" dirty="0">
                <a:solidFill>
                  <a:schemeClr val="bg1"/>
                </a:solidFill>
              </a:rPr>
              <a:t> 357401, Ставропольский край, г. Железноводск,  </a:t>
            </a:r>
          </a:p>
          <a:p>
            <a:pPr marL="1160463" indent="-173038">
              <a:defRPr/>
            </a:pPr>
            <a:r>
              <a:rPr lang="ru-RU" sz="2400" dirty="0">
                <a:solidFill>
                  <a:schemeClr val="bg1"/>
                </a:solidFill>
              </a:rPr>
              <a:t>ул. Ленина, д.102</a:t>
            </a:r>
          </a:p>
          <a:p>
            <a:pPr>
              <a:defRPr/>
            </a:pPr>
            <a:r>
              <a:rPr lang="ru-RU" sz="2400" b="1" dirty="0">
                <a:solidFill>
                  <a:schemeClr val="bg1"/>
                </a:solidFill>
              </a:rPr>
              <a:t>Телефон: </a:t>
            </a:r>
            <a:r>
              <a:rPr lang="ru-RU" sz="2400" dirty="0">
                <a:solidFill>
                  <a:schemeClr val="bg1"/>
                </a:solidFill>
              </a:rPr>
              <a:t>(879-32) 4-30-85</a:t>
            </a:r>
          </a:p>
          <a:p>
            <a:pPr>
              <a:defRPr/>
            </a:pPr>
            <a:r>
              <a:rPr lang="ru-RU" sz="2400" b="1" dirty="0">
                <a:solidFill>
                  <a:schemeClr val="bg1"/>
                </a:solidFill>
              </a:rPr>
              <a:t>Факс:</a:t>
            </a:r>
            <a:r>
              <a:rPr lang="ru-RU" sz="2400" dirty="0">
                <a:solidFill>
                  <a:schemeClr val="bg1"/>
                </a:solidFill>
              </a:rPr>
              <a:t> (879-32) 3-15-02</a:t>
            </a:r>
          </a:p>
          <a:p>
            <a:pPr>
              <a:defRPr/>
            </a:pPr>
            <a:r>
              <a:rPr lang="ru-RU" sz="2400" b="1" dirty="0">
                <a:solidFill>
                  <a:schemeClr val="bg1"/>
                </a:solidFill>
              </a:rPr>
              <a:t>Адрес электронной почты:</a:t>
            </a:r>
            <a:r>
              <a:rPr lang="ru-RU" sz="2400" dirty="0">
                <a:solidFill>
                  <a:schemeClr val="bg1"/>
                </a:solidFill>
              </a:rPr>
              <a:t> </a:t>
            </a:r>
            <a:r>
              <a:rPr lang="ru-RU" sz="2400" dirty="0" err="1">
                <a:solidFill>
                  <a:schemeClr val="bg1"/>
                </a:solidFill>
              </a:rPr>
              <a:t>zhelfin@mail.ru</a:t>
            </a:r>
            <a:r>
              <a:rPr lang="ru-RU" sz="2400" dirty="0">
                <a:solidFill>
                  <a:schemeClr val="bg1"/>
                </a:solidFill>
              </a:rPr>
              <a:t> </a:t>
            </a:r>
          </a:p>
          <a:p>
            <a:pPr>
              <a:defRPr/>
            </a:pPr>
            <a:r>
              <a:rPr lang="ru-RU" sz="2800" dirty="0">
                <a:solidFill>
                  <a:srgbClr val="660033"/>
                </a:solidFill>
              </a:rPr>
              <a:t> </a:t>
            </a:r>
          </a:p>
        </p:txBody>
      </p:sp>
      <p:pic>
        <p:nvPicPr>
          <p:cNvPr id="102404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graphicFrame>
        <p:nvGraphicFramePr>
          <p:cNvPr id="13" name="Таблица 12"/>
          <p:cNvGraphicFramePr>
            <a:graphicFrameLocks noGrp="1"/>
          </p:cNvGraphicFramePr>
          <p:nvPr/>
        </p:nvGraphicFramePr>
        <p:xfrm>
          <a:off x="285750" y="2143125"/>
          <a:ext cx="8686800" cy="3586166"/>
        </p:xfrm>
        <a:graphic>
          <a:graphicData uri="http://schemas.openxmlformats.org/drawingml/2006/table">
            <a:tbl>
              <a:tblPr/>
              <a:tblGrid>
                <a:gridCol w="1104900"/>
                <a:gridCol w="766763"/>
                <a:gridCol w="812800"/>
                <a:gridCol w="790575"/>
                <a:gridCol w="711200"/>
                <a:gridCol w="552450"/>
                <a:gridCol w="709612"/>
                <a:gridCol w="711200"/>
                <a:gridCol w="552450"/>
                <a:gridCol w="790575"/>
                <a:gridCol w="631825"/>
                <a:gridCol w="552450"/>
              </a:tblGrid>
              <a:tr h="322263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казател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акт за 2017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ценка на 2018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ек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210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клонение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клонение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клонение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57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/-)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/-)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/-)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</a:tr>
              <a:tr h="35719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ХОДЫ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 416 764,16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706 643,01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487 624,64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219018,37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87,17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070 064,63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417 560,01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71,93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069 590,49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474,14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99,96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том числе: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</a:tr>
              <a:tr h="482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логовые и неналоговые доходы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325 931,12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319 979,14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326 884,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6904,86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02,16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338 398,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1 514,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03,52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327 828,00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10 570,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96,88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</a:tr>
              <a:tr h="5889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езвозмездные поступления 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090 833,04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386 663,87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160 740,64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225923,23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83,71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731 666,63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429 074,01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63,03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741 762,49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0 095,86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01,38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</a:tr>
              <a:tr h="4714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 499 197,01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655 586,1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478 626,64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176959,46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89,31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061 730,63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416 896,01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71,81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069 590,49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7 859,86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00,74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</a:tr>
              <a:tr h="4714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ФИЦИТ (+),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ЕФИЦИТ (-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82 432,85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51 056,91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8 998,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42058,91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7,62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8 334,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664,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92,62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8 334,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0,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</a:tr>
            </a:tbl>
          </a:graphicData>
        </a:graphic>
      </p:graphicFrame>
      <p:sp>
        <p:nvSpPr>
          <p:cNvPr id="38005" name="Text Box 1"/>
          <p:cNvSpPr txBox="1">
            <a:spLocks noChangeArrowheads="1"/>
          </p:cNvSpPr>
          <p:nvPr/>
        </p:nvSpPr>
        <p:spPr bwMode="auto">
          <a:xfrm>
            <a:off x="7572375" y="1619250"/>
            <a:ext cx="1285875" cy="307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Тыс.рублей</a:t>
            </a:r>
          </a:p>
        </p:txBody>
      </p:sp>
      <p:pic>
        <p:nvPicPr>
          <p:cNvPr id="3800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142976" y="214290"/>
            <a:ext cx="7786742" cy="1143008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характеристик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бюджета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рода-курорта Железноводска Ставропольского края на 2019 год и плановый период 2020 и 2021 годов в сравнении с 2017 и 2018 годами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38916" name="Text Box 1"/>
          <p:cNvSpPr txBox="1">
            <a:spLocks noChangeArrowheads="1"/>
          </p:cNvSpPr>
          <p:nvPr/>
        </p:nvSpPr>
        <p:spPr bwMode="auto">
          <a:xfrm>
            <a:off x="7715250" y="1621025"/>
            <a:ext cx="128587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Тыс.рублей</a:t>
            </a:r>
            <a:endParaRPr lang="ru-RU" sz="1400" b="1" dirty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pic>
        <p:nvPicPr>
          <p:cNvPr id="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142976" y="142852"/>
            <a:ext cx="7786742" cy="1500198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spcBef>
                <a:spcPct val="50000"/>
              </a:spcBef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м и структура налоговых и неналоговых доходов, а также межбюджетных трансфертов, планируемых к поступлению в бюджет города-курорта Железноводска Ставропольского края, в динамике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357188" y="1930378"/>
          <a:ext cx="8572530" cy="4856208"/>
        </p:xfrm>
        <a:graphic>
          <a:graphicData uri="http://schemas.openxmlformats.org/drawingml/2006/table">
            <a:tbl>
              <a:tblPr/>
              <a:tblGrid>
                <a:gridCol w="3857652"/>
                <a:gridCol w="857256"/>
                <a:gridCol w="857226"/>
                <a:gridCol w="1000132"/>
                <a:gridCol w="1000132"/>
                <a:gridCol w="1000132"/>
              </a:tblGrid>
              <a:tr h="71438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ХОДЫ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Факт исполнения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17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рогноз исполнения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1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роект плана н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19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 принятый ФУА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Проект плана н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20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 принятый ФУА 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Проект плана н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21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 принятый ФУА 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261808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оговые и неналоговые доходы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325 931,1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19 979,14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326 884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338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398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327 828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25889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ог на доходы физических лиц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00 626,4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15 85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58 90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62 505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66 405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18424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лог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, взимаемый в виде стоимости патента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996,4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70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850,0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 294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 381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360108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диный налог на вмененный доход для отдельных видов деятельности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7 888,9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7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70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6 20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9 454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---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18424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иный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ельскохозяйственный налог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43,5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22,8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25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78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96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18424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ог на имущество </a:t>
                      </a:r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из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лиц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3 234,6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4 00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6 545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9 199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32 12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18424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мельный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ог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73 571,2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85 490,7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77 00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77 264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77 36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18424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Г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сударственная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шлина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4 828,7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6 80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7 50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7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866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8 18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18424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долженность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 отмененным налогам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5,8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18424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цизы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 нефтепродукты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4 780,9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5 28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5 695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6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78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8 328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18424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ендная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лата за земельные участки, </a:t>
                      </a:r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гос.собств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 не разграничен.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85 661,4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57 70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4 97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4 625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4 625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454276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ендная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лата, а также средства от продажи права на </a:t>
                      </a:r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ключ.договоров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аренды за земельные участки, </a:t>
                      </a:r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ходящ.в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обств. </a:t>
                      </a:r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гор.окр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837,4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70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786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786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786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18424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енда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мущества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677,4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426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40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 40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 40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18424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очая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ренда (</a:t>
                      </a:r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ц.найм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)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353,7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666,9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40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40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40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18424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латежи от муниципальных унитарных предприятий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 307,6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 174,6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50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50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50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18424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лата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 негативное воздействие на окружающую среду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887,8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11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58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59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59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39940" name="Text Box 1"/>
          <p:cNvSpPr txBox="1">
            <a:spLocks noChangeArrowheads="1"/>
          </p:cNvSpPr>
          <p:nvPr/>
        </p:nvSpPr>
        <p:spPr bwMode="auto">
          <a:xfrm>
            <a:off x="7715250" y="1621025"/>
            <a:ext cx="128587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Тыс.рублей</a:t>
            </a:r>
            <a:endParaRPr lang="ru-RU" sz="1400" b="1" dirty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142976" y="142852"/>
            <a:ext cx="7786742" cy="1500198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spcBef>
                <a:spcPct val="50000"/>
              </a:spcBef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м и структура налоговых и неналоговых доходов, а также межбюджетных трансфертов, планируемых к поступлению в бюджет города-курорта Железноводска Ставропольского края, в динамике</a:t>
            </a:r>
          </a:p>
        </p:txBody>
      </p:sp>
      <p:pic>
        <p:nvPicPr>
          <p:cNvPr id="9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14313" y="1928800"/>
          <a:ext cx="8643997" cy="4876814"/>
        </p:xfrm>
        <a:graphic>
          <a:graphicData uri="http://schemas.openxmlformats.org/drawingml/2006/table">
            <a:tbl>
              <a:tblPr/>
              <a:tblGrid>
                <a:gridCol w="3172109"/>
                <a:gridCol w="1110238"/>
                <a:gridCol w="932627"/>
                <a:gridCol w="1208547"/>
                <a:gridCol w="1110238"/>
                <a:gridCol w="1110238"/>
              </a:tblGrid>
              <a:tr h="61686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ХОДЫ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Факт исполнения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17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рогноз исполнения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1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роект плана н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19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 принятый ФУА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Проект плана н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20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 принятый ФУА 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Проект плана н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21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 принятый ФУА 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210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оходы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от оказания платных услуг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5 952,7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4 931,4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 235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 245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 245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210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оходы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от реализации иного имущества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8 875,8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605,8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00,0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600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00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210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 err="1" smtClean="0">
                          <a:solidFill>
                            <a:srgbClr val="000000"/>
                          </a:solidFill>
                          <a:latin typeface="Times New Roman"/>
                        </a:rPr>
                        <a:t>Административвные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платежи и сборы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86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83,1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20,0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20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20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210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Штрафы, санкции и возмещения ущерба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3 456,0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5 361,3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3 00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3 123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3 123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210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рочие неналоговые доходы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758,2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75,1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324905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Безвозмездные поступления 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 090 833,0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386 663,8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 160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740,6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731 666,6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741 762,4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210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тации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15 438,2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56 547,2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89 424,4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59 743,4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58 922,7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324905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убвенции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482 635,2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480 754,8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502 942,3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512 670,8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523 101,4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210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Субсидии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70 381,3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668 121,9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491 812,5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23 923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24 382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210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Иные межбюджетные трансферты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24 582,4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80 605,5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75 321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34 089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34 116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210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рочие безвозмездные поступления 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5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634,3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 240,3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 240,3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 240,3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210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бровольные пожертвования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16,3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210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В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озвраты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остатков бюджетных учреждений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0,0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21066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В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озвраты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остатков межбюджетных трансфертов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-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 525,5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-9 008,15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324905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Всего: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 416 764,1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706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643,0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 487 624,6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 070 064,6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 069 590,4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29770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алоговые</a:t>
                      </a:r>
                    </a:p>
                  </a:txBody>
                  <a:tcPr marL="6804" marR="6804" marT="680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216 076,7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04" marR="6804" marT="680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246 043,5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04" marR="6804" marT="680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292 915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04 64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04" marR="6804" marT="680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294 070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04" marR="6804" marT="680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297704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неналоговые</a:t>
                      </a:r>
                    </a:p>
                  </a:txBody>
                  <a:tcPr marL="6804" marR="6804" marT="680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109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854,3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04" marR="6804" marT="680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73 935,5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04" marR="6804" marT="680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3 969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3 758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04" marR="6804" marT="680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3 758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804" marR="6804" marT="680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1029" name="Text Box 1"/>
          <p:cNvSpPr txBox="1">
            <a:spLocks noChangeArrowheads="1"/>
          </p:cNvSpPr>
          <p:nvPr/>
        </p:nvSpPr>
        <p:spPr bwMode="auto">
          <a:xfrm>
            <a:off x="6500826" y="2214554"/>
            <a:ext cx="1285875" cy="52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Млн.рублей</a:t>
            </a:r>
          </a:p>
          <a:p>
            <a:endParaRPr lang="ru-RU" sz="1400" b="1" dirty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graphicFrame>
        <p:nvGraphicFramePr>
          <p:cNvPr id="1027" name="Object 3"/>
          <p:cNvGraphicFramePr>
            <a:graphicFrameLocks noChangeAspect="1"/>
          </p:cNvGraphicFramePr>
          <p:nvPr/>
        </p:nvGraphicFramePr>
        <p:xfrm>
          <a:off x="190500" y="1857398"/>
          <a:ext cx="8916988" cy="4929188"/>
        </p:xfrm>
        <a:graphic>
          <a:graphicData uri="http://schemas.openxmlformats.org/presentationml/2006/ole">
            <p:oleObj spid="_x0000_s1027" name="Worksheet" r:id="rId5" imgW="6315030" imgH="3086100" progId="Excel.Sheet.8">
              <p:embed/>
            </p:oleObj>
          </a:graphicData>
        </a:graphic>
      </p:graphicFrame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142976" y="71438"/>
            <a:ext cx="7786742" cy="1714488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spcBef>
                <a:spcPct val="50000"/>
              </a:spcBef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м и структура налоговых и неналоговых доходов, а также межбюджетных трансфертов, планируемых к поступлению в бюджет города-курорта Железноводска Ставропольского края, в динамике (факт за 2017 год, прогноз на 2018 год, прогноз на 2019 год и плановый период 2020 и 2021 годов)</a:t>
            </a:r>
          </a:p>
        </p:txBody>
      </p:sp>
      <p:pic>
        <p:nvPicPr>
          <p:cNvPr id="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428728" y="142852"/>
            <a:ext cx="7000924" cy="928694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инамика налоговых и неналоговых доходов</a:t>
            </a:r>
            <a:b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 Железноводска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0" name="Object 3"/>
          <p:cNvGraphicFramePr>
            <a:graphicFrameLocks noChangeAspect="1"/>
          </p:cNvGraphicFramePr>
          <p:nvPr/>
        </p:nvGraphicFramePr>
        <p:xfrm>
          <a:off x="-357222" y="1678014"/>
          <a:ext cx="9372600" cy="5537200"/>
        </p:xfrm>
        <a:graphic>
          <a:graphicData uri="http://schemas.openxmlformats.org/presentationml/2006/ole">
            <p:oleObj spid="_x0000_s2051" name="Worksheet" r:id="rId5" imgW="6696000" imgH="3952785" progId="Excel.Sheet.8">
              <p:embed/>
            </p:oleObj>
          </a:graphicData>
        </a:graphic>
      </p:graphicFrame>
      <p:sp>
        <p:nvSpPr>
          <p:cNvPr id="11" name="AutoShape 5"/>
          <p:cNvSpPr>
            <a:spLocks noChangeArrowheads="1"/>
          </p:cNvSpPr>
          <p:nvPr/>
        </p:nvSpPr>
        <p:spPr bwMode="auto">
          <a:xfrm rot="21186064">
            <a:off x="1381147" y="1523127"/>
            <a:ext cx="4840187" cy="688975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rgbClr val="FF9933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7429520" y="1571612"/>
            <a:ext cx="1296987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13" name="AutoShape 13"/>
          <p:cNvSpPr>
            <a:spLocks noChangeArrowheads="1"/>
          </p:cNvSpPr>
          <p:nvPr/>
        </p:nvSpPr>
        <p:spPr bwMode="auto">
          <a:xfrm rot="21294736">
            <a:off x="1848370" y="3603195"/>
            <a:ext cx="3972998" cy="1000029"/>
          </a:xfrm>
          <a:custGeom>
            <a:avLst/>
            <a:gdLst>
              <a:gd name="T0" fmla="*/ 2147483647 w 21600"/>
              <a:gd name="T1" fmla="*/ 0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6200" y="10800"/>
                </a:moveTo>
                <a:cubicBezTo>
                  <a:pt x="16200" y="7817"/>
                  <a:pt x="13782" y="5400"/>
                  <a:pt x="10800" y="5400"/>
                </a:cubicBezTo>
                <a:cubicBezTo>
                  <a:pt x="7817" y="5400"/>
                  <a:pt x="5400" y="7817"/>
                  <a:pt x="5400" y="10800"/>
                </a:cubicBezTo>
                <a:lnTo>
                  <a:pt x="0" y="10800"/>
                </a:lnTo>
                <a:cubicBezTo>
                  <a:pt x="0" y="4835"/>
                  <a:pt x="4835" y="0"/>
                  <a:pt x="10800" y="0"/>
                </a:cubicBezTo>
                <a:cubicBezTo>
                  <a:pt x="16764" y="0"/>
                  <a:pt x="21599" y="4835"/>
                  <a:pt x="21600" y="10799"/>
                </a:cubicBezTo>
                <a:lnTo>
                  <a:pt x="21600" y="10800"/>
                </a:lnTo>
                <a:lnTo>
                  <a:pt x="24300" y="10800"/>
                </a:lnTo>
                <a:lnTo>
                  <a:pt x="18900" y="16200"/>
                </a:lnTo>
                <a:lnTo>
                  <a:pt x="13500" y="10800"/>
                </a:lnTo>
                <a:lnTo>
                  <a:pt x="16200" y="10800"/>
                </a:lnTo>
                <a:close/>
              </a:path>
            </a:pathLst>
          </a:custGeom>
          <a:solidFill>
            <a:srgbClr val="669900">
              <a:alpha val="79999"/>
            </a:srgbClr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rgbClr val="669900"/>
            </a:extrusionClr>
          </a:sp3d>
        </p:spPr>
        <p:txBody>
          <a:bodyPr wrap="none" anchor="ctr">
            <a:flatTx/>
          </a:bodyPr>
          <a:lstStyle/>
          <a:p>
            <a:endParaRPr lang="ru-RU"/>
          </a:p>
        </p:txBody>
      </p:sp>
      <p:pic>
        <p:nvPicPr>
          <p:cNvPr id="14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3076" name="Text Box 5"/>
          <p:cNvSpPr txBox="1">
            <a:spLocks noChangeArrowheads="1"/>
          </p:cNvSpPr>
          <p:nvPr/>
        </p:nvSpPr>
        <p:spPr bwMode="auto">
          <a:xfrm>
            <a:off x="7643834" y="1377938"/>
            <a:ext cx="1243012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142976" y="142852"/>
            <a:ext cx="7786742" cy="857256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руктура налоговых доходов</a:t>
            </a:r>
            <a:b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 Железноводска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075" name="Object 4"/>
          <p:cNvGraphicFramePr>
            <a:graphicFrameLocks noGrp="1" noChangeAspect="1"/>
          </p:cNvGraphicFramePr>
          <p:nvPr/>
        </p:nvGraphicFramePr>
        <p:xfrm>
          <a:off x="0" y="1663700"/>
          <a:ext cx="9169400" cy="5194300"/>
        </p:xfrm>
        <a:graphic>
          <a:graphicData uri="http://schemas.openxmlformats.org/presentationml/2006/ole">
            <p:oleObj spid="_x0000_s3075" name="Worksheet" r:id="rId5" imgW="6524550" imgH="308610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142976" y="142852"/>
            <a:ext cx="7786742" cy="857256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руктура налоговых доходов</a:t>
            </a:r>
            <a:b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 Железноводска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File"/>
          <p:cNvSpPr>
            <a:spLocks noEditPoints="1" noChangeArrowheads="1"/>
          </p:cNvSpPr>
          <p:nvPr/>
        </p:nvSpPr>
        <p:spPr bwMode="auto">
          <a:xfrm>
            <a:off x="571472" y="1000108"/>
            <a:ext cx="8072526" cy="2286016"/>
          </a:xfrm>
          <a:custGeom>
            <a:avLst/>
            <a:gdLst>
              <a:gd name="T0" fmla="*/ 2147483647 w 21600"/>
              <a:gd name="T1" fmla="*/ 2147483647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w 21600"/>
              <a:gd name="T9" fmla="*/ 2147483647 h 21600"/>
              <a:gd name="T10" fmla="*/ 2147483647 w 21600"/>
              <a:gd name="T11" fmla="*/ 2147483647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blipFill>
            <a:blip r:embed="rId4"/>
            <a:tile tx="0" ty="0" sx="100000" sy="100000" flip="none" algn="tl"/>
          </a:blip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ru-RU" sz="1600" dirty="0" smtClean="0"/>
              <a:t>Действие системы налогообложения в виде единого налога на вмененный доход для отдельных видов деятельности прекращается с 2021 года на основании статьи 2 Федерального закона от 02.06.2016 № 178-ФЗ «О внесении изменений в статью 346.32 части второй Налогового кодекса Российской Федерации и статью 5 Федерального закона «О внесении изменений в часть первую и часть вторую Налогового кодекса Российской Федерации и статью 26 Федерального закона «О банках и банковской деятельности».</a:t>
            </a:r>
            <a:endParaRPr lang="ru-RU" sz="1600" dirty="0"/>
          </a:p>
        </p:txBody>
      </p:sp>
      <p:sp>
        <p:nvSpPr>
          <p:cNvPr id="11" name="File"/>
          <p:cNvSpPr>
            <a:spLocks noEditPoints="1" noChangeArrowheads="1"/>
          </p:cNvSpPr>
          <p:nvPr/>
        </p:nvSpPr>
        <p:spPr bwMode="auto">
          <a:xfrm>
            <a:off x="642910" y="3429000"/>
            <a:ext cx="8072526" cy="1143008"/>
          </a:xfrm>
          <a:custGeom>
            <a:avLst/>
            <a:gdLst>
              <a:gd name="T0" fmla="*/ 2147483647 w 21600"/>
              <a:gd name="T1" fmla="*/ 2147483647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w 21600"/>
              <a:gd name="T9" fmla="*/ 2147483647 h 21600"/>
              <a:gd name="T10" fmla="*/ 2147483647 w 21600"/>
              <a:gd name="T11" fmla="*/ 2147483647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blipFill>
            <a:blip r:embed="rId4"/>
            <a:tile tx="0" ty="0" sx="100000" sy="100000" flip="none" algn="tl"/>
          </a:blip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ru-RU" sz="1600" dirty="0" smtClean="0"/>
              <a:t>Увеличение поступлений доходов от уплаты акцизов на нефтепродукты обусловлено индексацией с 1 января 2019 года ставок акцизов на автомобильный бензин и дизельное топливо.</a:t>
            </a:r>
            <a:endParaRPr lang="ru-RU" sz="1600" dirty="0"/>
          </a:p>
        </p:txBody>
      </p:sp>
      <p:sp>
        <p:nvSpPr>
          <p:cNvPr id="12" name="File"/>
          <p:cNvSpPr>
            <a:spLocks noEditPoints="1" noChangeArrowheads="1"/>
          </p:cNvSpPr>
          <p:nvPr/>
        </p:nvSpPr>
        <p:spPr bwMode="auto">
          <a:xfrm>
            <a:off x="642910" y="4714884"/>
            <a:ext cx="8072526" cy="1928826"/>
          </a:xfrm>
          <a:custGeom>
            <a:avLst/>
            <a:gdLst>
              <a:gd name="T0" fmla="*/ 2147483647 w 21600"/>
              <a:gd name="T1" fmla="*/ 2147483647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w 21600"/>
              <a:gd name="T9" fmla="*/ 2147483647 h 21600"/>
              <a:gd name="T10" fmla="*/ 2147483647 w 21600"/>
              <a:gd name="T11" fmla="*/ 2147483647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blipFill>
            <a:blip r:embed="rId4"/>
            <a:tile tx="0" ty="0" sx="100000" sy="100000" flip="none" algn="tl"/>
          </a:blipFill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 algn="just"/>
            <a:r>
              <a:rPr lang="ru-RU" sz="1600" dirty="0" smtClean="0"/>
              <a:t>Расчет поступления государственной пошлины на 2019 год сформирован исходя из оценки ожидаемого поступления государственной пошлины в доход бюджета города в 2018 году с учетом фактического поступления за 6 месяцев, скорректированного на индекс потребительских цен в размере 104,3 процента.  </a:t>
            </a:r>
          </a:p>
          <a:p>
            <a:pPr algn="just"/>
            <a:r>
              <a:rPr lang="ru-RU" sz="1600" dirty="0" smtClean="0"/>
              <a:t>В расчетах на 2020 год учитывается индекс потребительских цен - 103,8 %, на 2021 год - 104,0 %.</a:t>
            </a:r>
            <a:endParaRPr lang="ru-RU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0" y="0"/>
            <a:ext cx="9144032" cy="6886558"/>
          </a:xfrm>
          <a:prstGeom prst="rect">
            <a:avLst/>
          </a:prstGeom>
          <a:noFill/>
        </p:spPr>
      </p:pic>
      <p:pic>
        <p:nvPicPr>
          <p:cNvPr id="1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File"/>
          <p:cNvSpPr>
            <a:spLocks noEditPoints="1" noChangeArrowheads="1"/>
          </p:cNvSpPr>
          <p:nvPr/>
        </p:nvSpPr>
        <p:spPr bwMode="auto">
          <a:xfrm>
            <a:off x="500063" y="4572008"/>
            <a:ext cx="8643937" cy="1857388"/>
          </a:xfrm>
          <a:custGeom>
            <a:avLst/>
            <a:gdLst>
              <a:gd name="T0" fmla="*/ 2147483647 w 21600"/>
              <a:gd name="T1" fmla="*/ 2147483647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w 21600"/>
              <a:gd name="T9" fmla="*/ 2147483647 h 21600"/>
              <a:gd name="T10" fmla="*/ 2147483647 w 21600"/>
              <a:gd name="T11" fmla="*/ 2147483647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blipFill>
            <a:blip r:embed="rId4"/>
            <a:tile tx="0" ty="0" sx="100000" sy="100000" flip="none" algn="tl"/>
          </a:blip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ru-RU" sz="1800" b="1" dirty="0" smtClean="0">
                <a:solidFill>
                  <a:schemeClr val="tx2">
                    <a:lumMod val="75000"/>
                  </a:schemeClr>
                </a:solidFill>
              </a:rPr>
              <a:t>Доходы бюджета города по налогу на доходы физических лиц в 2019 году </a:t>
            </a:r>
            <a:r>
              <a:rPr lang="ru-RU" sz="1800" b="1" dirty="0" err="1" smtClean="0">
                <a:solidFill>
                  <a:schemeClr val="tx2">
                    <a:lumMod val="75000"/>
                  </a:schemeClr>
                </a:solidFill>
              </a:rPr>
              <a:t>прогнозно</a:t>
            </a:r>
            <a:r>
              <a:rPr lang="ru-RU" sz="1800" b="1" dirty="0" smtClean="0">
                <a:solidFill>
                  <a:schemeClr val="tx2">
                    <a:lumMod val="75000"/>
                  </a:schemeClr>
                </a:solidFill>
              </a:rPr>
              <a:t> составят 158,9 млн. руб., что выше плановых назначений на 2018 год на 36,4 млн. руб. или на 29,71 %. При расчете учитывалось увеличение норматива отчислений в бюджет города на 5 %. </a:t>
            </a:r>
          </a:p>
          <a:p>
            <a:pPr algn="just"/>
            <a:r>
              <a:rPr lang="ru-RU" sz="1800" b="1" dirty="0" smtClean="0">
                <a:solidFill>
                  <a:schemeClr val="tx2">
                    <a:lumMod val="75000"/>
                  </a:schemeClr>
                </a:solidFill>
              </a:rPr>
              <a:t>Норматив отчислений в бюджет города составил 27 %.</a:t>
            </a:r>
            <a:endParaRPr lang="ru-RU" sz="18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10" name="Диаграмма 9"/>
          <p:cNvGraphicFramePr/>
          <p:nvPr/>
        </p:nvGraphicFramePr>
        <p:xfrm>
          <a:off x="0" y="2643182"/>
          <a:ext cx="3571900" cy="207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357158" y="3714752"/>
            <a:ext cx="1093569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500" dirty="0" smtClean="0"/>
              <a:t>47,1 %</a:t>
            </a:r>
          </a:p>
        </p:txBody>
      </p:sp>
      <p:graphicFrame>
        <p:nvGraphicFramePr>
          <p:cNvPr id="12" name="Диаграмма 11"/>
          <p:cNvGraphicFramePr/>
          <p:nvPr/>
        </p:nvGraphicFramePr>
        <p:xfrm>
          <a:off x="2071670" y="1643050"/>
          <a:ext cx="3571900" cy="207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3" name="Диаграмма 12"/>
          <p:cNvGraphicFramePr/>
          <p:nvPr/>
        </p:nvGraphicFramePr>
        <p:xfrm>
          <a:off x="3929058" y="2428868"/>
          <a:ext cx="3571900" cy="207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Диаграмма 17"/>
          <p:cNvGraphicFramePr/>
          <p:nvPr/>
        </p:nvGraphicFramePr>
        <p:xfrm>
          <a:off x="6072198" y="1071546"/>
          <a:ext cx="3571900" cy="207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AutoShape 2"/>
          <p:cNvSpPr>
            <a:spLocks noChangeArrowheads="1"/>
          </p:cNvSpPr>
          <p:nvPr/>
        </p:nvSpPr>
        <p:spPr bwMode="auto">
          <a:xfrm>
            <a:off x="1142976" y="142852"/>
            <a:ext cx="7786742" cy="857256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Наибольший удельный вес в доходной базе бюджета из числа налоговых доходов занимает НДФЛ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0" y="0"/>
            <a:ext cx="9144032" cy="6886558"/>
          </a:xfrm>
          <a:prstGeom prst="rect">
            <a:avLst/>
          </a:prstGeom>
          <a:noFill/>
        </p:spPr>
      </p:pic>
      <p:sp>
        <p:nvSpPr>
          <p:cNvPr id="15" name="Прямоугольник 14"/>
          <p:cNvSpPr/>
          <p:nvPr/>
        </p:nvSpPr>
        <p:spPr>
          <a:xfrm>
            <a:off x="1000100" y="2643182"/>
            <a:ext cx="642942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4000" b="1" cap="none" spc="0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%</a:t>
            </a:r>
            <a:endParaRPr lang="ru-RU" sz="4000" b="1" cap="none" spc="0" dirty="0">
              <a:ln w="900" cmpd="sng">
                <a:solidFill>
                  <a:schemeClr val="accent1">
                    <a:satMod val="190000"/>
                    <a:alpha val="55000"/>
                  </a:schemeClr>
                </a:solidFill>
                <a:prstDash val="solid"/>
              </a:ln>
              <a:solidFill>
                <a:schemeClr val="accent1">
                  <a:satMod val="200000"/>
                  <a:tint val="3000"/>
                </a:schemeClr>
              </a:solidFill>
              <a:effectLst>
                <a:innerShdw blurRad="101600" dist="76200" dir="5400000">
                  <a:schemeClr val="accent1">
                    <a:satMod val="190000"/>
                    <a:tint val="100000"/>
                    <a:alpha val="74000"/>
                  </a:schemeClr>
                </a:innerShdw>
              </a:effectLst>
            </a:endParaRPr>
          </a:p>
        </p:txBody>
      </p:sp>
      <p:pic>
        <p:nvPicPr>
          <p:cNvPr id="1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8" name="Диаграмма 17"/>
          <p:cNvGraphicFramePr/>
          <p:nvPr/>
        </p:nvGraphicFramePr>
        <p:xfrm>
          <a:off x="357158" y="1214422"/>
          <a:ext cx="8572560" cy="3214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071538" y="214290"/>
            <a:ext cx="7786742" cy="100013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Значительный удельный вес в доходной базе бюджета из числа налоговых доходов занимают налоги на имущество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715008" y="4429132"/>
            <a:ext cx="3214710" cy="2286016"/>
          </a:xfrm>
          <a:prstGeom prst="roundRect">
            <a:avLst/>
          </a:prstGeom>
          <a:solidFill>
            <a:schemeClr val="accent1">
              <a:alpha val="6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1600" smtClean="0">
                <a:solidFill>
                  <a:schemeClr val="tx1"/>
                </a:solidFill>
              </a:rPr>
              <a:t>Доходы бюджета города по налогу на имущество физических лиц в 2019  году  выше плановых назначений на 2018 год на</a:t>
            </a:r>
            <a:r>
              <a:rPr lang="ru-RU" sz="1600" dirty="0" smtClean="0">
                <a:solidFill>
                  <a:schemeClr val="tx1"/>
                </a:solidFill>
              </a:rPr>
              <a:t> </a:t>
            </a:r>
            <a:r>
              <a:rPr lang="x-none" sz="1600" smtClean="0">
                <a:solidFill>
                  <a:schemeClr val="tx1"/>
                </a:solidFill>
              </a:rPr>
              <a:t>89,61 </a:t>
            </a:r>
            <a:r>
              <a:rPr lang="ru-RU" sz="1600" dirty="0" smtClean="0">
                <a:solidFill>
                  <a:schemeClr val="tx1"/>
                </a:solidFill>
              </a:rPr>
              <a:t>% </a:t>
            </a:r>
            <a:r>
              <a:rPr lang="x-none" sz="1600" smtClean="0">
                <a:solidFill>
                  <a:schemeClr val="tx1"/>
                </a:solidFill>
              </a:rPr>
              <a:t>в связи с увеличением общей кадастровой стоимости объектов</a:t>
            </a:r>
            <a:r>
              <a:rPr lang="ru-RU" sz="1600" dirty="0" smtClean="0">
                <a:solidFill>
                  <a:schemeClr val="tx1"/>
                </a:solidFill>
              </a:rPr>
              <a:t> налогообложения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285720" y="4429132"/>
            <a:ext cx="4714908" cy="2286016"/>
          </a:xfrm>
          <a:prstGeom prst="roundRect">
            <a:avLst/>
          </a:prstGeom>
          <a:solidFill>
            <a:schemeClr val="accent1">
              <a:alpha val="6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Доходы бюджета города по земельному налогу 2019 году ниже уровня плановых назначений на 2018 год на 6,1 % в связи с введением п.5 статьи 391 Налогового кодекса на основании которого налоговая база уменьшается на величину кадастровой стоимости 600 кв. м. площади земельного участка для отдельных категорий налогоплательщиков</a:t>
            </a:r>
            <a:endParaRPr lang="ru-RU" sz="16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8" name="Скругленный прямоугольник 7"/>
          <p:cNvSpPr/>
          <p:nvPr/>
        </p:nvSpPr>
        <p:spPr>
          <a:xfrm>
            <a:off x="0" y="5643578"/>
            <a:ext cx="9144000" cy="1214422"/>
          </a:xfrm>
          <a:prstGeom prst="roundRect">
            <a:avLst/>
          </a:prstGeom>
          <a:solidFill>
            <a:srgbClr val="FFCC00">
              <a:alpha val="50000"/>
            </a:srgb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2800" b="1" i="1" kern="0" dirty="0">
                <a:solidFill>
                  <a:srgbClr val="00B05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Площадь города – 9313 га </a:t>
            </a:r>
          </a:p>
          <a:p>
            <a:pPr>
              <a:defRPr/>
            </a:pPr>
            <a:r>
              <a:rPr lang="ru-RU" sz="2800" b="1" i="1" kern="0" dirty="0">
                <a:solidFill>
                  <a:srgbClr val="00B05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Население города – 52,7 тысяч человек</a:t>
            </a:r>
            <a:endParaRPr lang="ru-RU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357158" y="142852"/>
            <a:ext cx="8291512" cy="64770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freezing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sz="2400" b="1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Город-курорт Железноводск  Ставропольского края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graphicFrame>
        <p:nvGraphicFramePr>
          <p:cNvPr id="11" name="Object 3"/>
          <p:cNvGraphicFramePr>
            <a:graphicFrameLocks noGrp="1" noChangeAspect="1"/>
          </p:cNvGraphicFramePr>
          <p:nvPr>
            <p:ph/>
          </p:nvPr>
        </p:nvGraphicFramePr>
        <p:xfrm>
          <a:off x="36513" y="1211263"/>
          <a:ext cx="8945562" cy="3349625"/>
        </p:xfrm>
        <a:graphic>
          <a:graphicData uri="http://schemas.openxmlformats.org/presentationml/2006/ole">
            <p:oleObj spid="_x0000_s4099" name="Worksheet" r:id="rId4" imgW="6715170" imgH="2514600" progId="Excel.Sheet.8">
              <p:embed/>
            </p:oleObj>
          </a:graphicData>
        </a:graphic>
      </p:graphicFrame>
      <p:sp>
        <p:nvSpPr>
          <p:cNvPr id="12" name="Text Box 5"/>
          <p:cNvSpPr txBox="1">
            <a:spLocks noChangeArrowheads="1"/>
          </p:cNvSpPr>
          <p:nvPr/>
        </p:nvSpPr>
        <p:spPr bwMode="auto">
          <a:xfrm>
            <a:off x="7524750" y="1125538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/>
              <a:t>млн.рублей</a:t>
            </a:r>
          </a:p>
        </p:txBody>
      </p:sp>
      <p:sp>
        <p:nvSpPr>
          <p:cNvPr id="13" name="AutoShape 2"/>
          <p:cNvSpPr>
            <a:spLocks noChangeArrowheads="1"/>
          </p:cNvSpPr>
          <p:nvPr/>
        </p:nvSpPr>
        <p:spPr bwMode="auto">
          <a:xfrm>
            <a:off x="1285852" y="142852"/>
            <a:ext cx="7215238" cy="92867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 sz="216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endParaRPr lang="ru-RU" sz="2400" b="1" i="1" dirty="0" smtClean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руктура неналоговых доходов</a:t>
            </a:r>
            <a:b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</a:t>
            </a:r>
          </a:p>
          <a:p>
            <a:pPr algn="ctr">
              <a:defRPr sz="216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endParaRPr lang="ru-RU" b="1" dirty="0">
              <a:solidFill>
                <a:schemeClr val="bg1"/>
              </a:solidFill>
            </a:endParaRPr>
          </a:p>
        </p:txBody>
      </p:sp>
      <p:pic>
        <p:nvPicPr>
          <p:cNvPr id="14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Скругленный прямоугольник 7"/>
          <p:cNvSpPr/>
          <p:nvPr/>
        </p:nvSpPr>
        <p:spPr>
          <a:xfrm>
            <a:off x="285688" y="4786322"/>
            <a:ext cx="4714940" cy="1928826"/>
          </a:xfrm>
          <a:prstGeom prst="roundRect">
            <a:avLst/>
          </a:prstGeom>
          <a:solidFill>
            <a:schemeClr val="accent1">
              <a:alpha val="6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 smtClean="0">
                <a:solidFill>
                  <a:schemeClr val="tx1"/>
                </a:solidFill>
              </a:rPr>
              <a:t>Доходы от платежей при пользовании природными ресурсами на 2019 год ниже уровня первоначальных плановых назначений на 2018 год на 63,98 %. Уменьшение вызвано изменением получателя налога, проводится уточнение платежей в город Ессентуки, по месту расположения основного полигона.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143504" y="3786190"/>
            <a:ext cx="3857620" cy="2714644"/>
          </a:xfrm>
          <a:prstGeom prst="roundRect">
            <a:avLst/>
          </a:prstGeom>
          <a:solidFill>
            <a:schemeClr val="accent1">
              <a:alpha val="6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 smtClean="0">
                <a:solidFill>
                  <a:schemeClr val="tx1"/>
                </a:solidFill>
              </a:rPr>
              <a:t>Доходы бюджета города от оказания платных услуг и компенсации затрат государства в 2019 году ниже плановых назначений на 2018 год на 52,53 % в связи с переходом двух казенных дошкольных учреждений в бюджетные.</a:t>
            </a:r>
            <a:endParaRPr lang="ru-RU" sz="16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graphicFrame>
        <p:nvGraphicFramePr>
          <p:cNvPr id="3" name="Object 3"/>
          <p:cNvGraphicFramePr>
            <a:graphicFrameLocks noGrp="1" noChangeAspect="1"/>
          </p:cNvGraphicFramePr>
          <p:nvPr/>
        </p:nvGraphicFramePr>
        <p:xfrm>
          <a:off x="38100" y="1460500"/>
          <a:ext cx="8953500" cy="3683012"/>
        </p:xfrm>
        <a:graphic>
          <a:graphicData uri="http://schemas.openxmlformats.org/presentationml/2006/ole">
            <p:oleObj spid="_x0000_s83970" name="Worksheet" r:id="rId4" imgW="6715170" imgH="3676740" progId="Excel.Sheet.8">
              <p:embed/>
            </p:oleObj>
          </a:graphicData>
        </a:graphic>
      </p:graphicFrame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7572396" y="1285860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pic>
        <p:nvPicPr>
          <p:cNvPr id="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Скругленный прямоугольник 6"/>
          <p:cNvSpPr/>
          <p:nvPr/>
        </p:nvSpPr>
        <p:spPr>
          <a:xfrm>
            <a:off x="142844" y="5143512"/>
            <a:ext cx="8858312" cy="1428760"/>
          </a:xfrm>
          <a:prstGeom prst="roundRect">
            <a:avLst/>
          </a:prstGeom>
          <a:solidFill>
            <a:schemeClr val="accent1">
              <a:alpha val="6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65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нижение доходов от использования имущества находящегося в муниципальной собственности обусловлено изменением действующих ставок арендной платы за земельные участки, размер арендной платы определяется в размере земельного налога.</a:t>
            </a:r>
          </a:p>
          <a:p>
            <a:pPr algn="just"/>
            <a:r>
              <a:rPr lang="ru-RU" sz="165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ъем дохода от перечисления муниципальными унитарными предприятиями части прибыли рассчитан с учетом увеличения в 2019 году процента отчислений с 15 до 25 процентов</a:t>
            </a:r>
            <a:endParaRPr lang="ru-RU" sz="165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357290" y="214290"/>
            <a:ext cx="7215238" cy="107157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 sz="216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endParaRPr lang="ru-RU" sz="2400" b="1" i="1" dirty="0" smtClean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Доходы от использования имущества, находящегося в муниципальной собственности</a:t>
            </a:r>
            <a:endParaRPr lang="ru-RU" sz="24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defRPr sz="216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1990" name="Text Box 6"/>
          <p:cNvSpPr txBox="1">
            <a:spLocks noChangeArrowheads="1"/>
          </p:cNvSpPr>
          <p:nvPr/>
        </p:nvSpPr>
        <p:spPr bwMode="auto">
          <a:xfrm>
            <a:off x="7596188" y="1196975"/>
            <a:ext cx="1243012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/>
              <a:t>млн.рублей</a:t>
            </a:r>
          </a:p>
        </p:txBody>
      </p:sp>
      <p:graphicFrame>
        <p:nvGraphicFramePr>
          <p:cNvPr id="8" name="Содержимое 7"/>
          <p:cNvGraphicFramePr>
            <a:graphicFrameLocks noGrp="1"/>
          </p:cNvGraphicFramePr>
          <p:nvPr>
            <p:ph/>
          </p:nvPr>
        </p:nvGraphicFramePr>
        <p:xfrm>
          <a:off x="0" y="1006475"/>
          <a:ext cx="8229600" cy="5851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357290" y="142852"/>
            <a:ext cx="7358114" cy="928694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руктура безвозмездных поступлений в бюджет </a:t>
            </a:r>
            <a:b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 Железноводска</a:t>
            </a:r>
            <a:endParaRPr lang="ru-RU" sz="2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9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74754" name="AutoShape 2"/>
          <p:cNvSpPr>
            <a:spLocks noChangeArrowheads="1"/>
          </p:cNvSpPr>
          <p:nvPr/>
        </p:nvSpPr>
        <p:spPr bwMode="auto">
          <a:xfrm>
            <a:off x="1571604" y="214290"/>
            <a:ext cx="7077066" cy="928694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spc="1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Динамика</a:t>
            </a:r>
            <a:r>
              <a:rPr lang="ru-RU" b="1" spc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 </a:t>
            </a:r>
            <a:r>
              <a:rPr lang="ru-RU" b="1" spc="1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расходов бюджета </a:t>
            </a:r>
            <a:r>
              <a:rPr lang="ru-RU" b="1" spc="1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города-курорта Железноводска Ставропольского края</a:t>
            </a:r>
            <a:endParaRPr lang="ru-RU" b="1" spc="1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Times New Roman" pitchFamily="18" charset="0"/>
            </a:endParaRPr>
          </a:p>
        </p:txBody>
      </p:sp>
      <p:pic>
        <p:nvPicPr>
          <p:cNvPr id="43024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7" name="Object 92"/>
          <p:cNvGraphicFramePr>
            <a:graphicFrameLocks noChangeAspect="1"/>
          </p:cNvGraphicFramePr>
          <p:nvPr/>
        </p:nvGraphicFramePr>
        <p:xfrm>
          <a:off x="214282" y="1357298"/>
          <a:ext cx="8215339" cy="5286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AutoShape 14"/>
          <p:cNvSpPr>
            <a:spLocks noChangeArrowheads="1"/>
          </p:cNvSpPr>
          <p:nvPr/>
        </p:nvSpPr>
        <p:spPr bwMode="auto">
          <a:xfrm>
            <a:off x="2126071" y="4000504"/>
            <a:ext cx="855940" cy="1435104"/>
          </a:xfrm>
          <a:prstGeom prst="upArrow">
            <a:avLst>
              <a:gd name="adj1" fmla="val 50000"/>
              <a:gd name="adj2" fmla="val 29435"/>
            </a:avLst>
          </a:prstGeom>
          <a:solidFill>
            <a:srgbClr val="00FFFF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chemeClr val="accent3">
                <a:lumMod val="75000"/>
              </a:schemeClr>
            </a:extrusionClr>
          </a:sp3d>
        </p:spPr>
        <p:txBody>
          <a:bodyPr vert="eaVert" wrap="square" anchor="ctr">
            <a:spAutoFit/>
            <a:flatTx/>
          </a:bodyPr>
          <a:lstStyle/>
          <a:p>
            <a:pPr algn="ctr" eaLnBrk="1" hangingPunct="1"/>
            <a:r>
              <a:rPr lang="ru-RU" sz="1600" b="1" dirty="0">
                <a:latin typeface="Arial" charset="0"/>
              </a:rPr>
              <a:t>+ </a:t>
            </a:r>
            <a:r>
              <a:rPr lang="ru-RU" sz="1600" b="1" dirty="0" smtClean="0">
                <a:latin typeface="Arial" charset="0"/>
              </a:rPr>
              <a:t>156,39</a:t>
            </a:r>
            <a:endParaRPr lang="ru-RU" sz="1600" b="1" dirty="0">
              <a:latin typeface="Arial" charset="0"/>
            </a:endParaRPr>
          </a:p>
        </p:txBody>
      </p:sp>
      <p:sp>
        <p:nvSpPr>
          <p:cNvPr id="7" name="AutoShape 12"/>
          <p:cNvSpPr>
            <a:spLocks noChangeArrowheads="1"/>
          </p:cNvSpPr>
          <p:nvPr/>
        </p:nvSpPr>
        <p:spPr bwMode="auto">
          <a:xfrm rot="10800000">
            <a:off x="3144537" y="4000504"/>
            <a:ext cx="855940" cy="1519232"/>
          </a:xfrm>
          <a:prstGeom prst="upArrow">
            <a:avLst>
              <a:gd name="adj1" fmla="val 50000"/>
              <a:gd name="adj2" fmla="val 39263"/>
            </a:avLst>
          </a:prstGeom>
          <a:solidFill>
            <a:srgbClr val="FF0000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rgbClr val="FF3300"/>
            </a:extrusionClr>
          </a:sp3d>
        </p:spPr>
        <p:txBody>
          <a:bodyPr vert="eaVert" wrap="square" anchor="ctr">
            <a:spAutoFit/>
            <a:flatTx/>
          </a:bodyPr>
          <a:lstStyle/>
          <a:p>
            <a:pPr algn="ctr" eaLnBrk="1" hangingPunct="1"/>
            <a:r>
              <a:rPr lang="ru-RU" sz="1600" b="1" dirty="0">
                <a:latin typeface="Arial" charset="0"/>
              </a:rPr>
              <a:t>-</a:t>
            </a:r>
            <a:r>
              <a:rPr lang="ru-RU" sz="1600" b="1" dirty="0" smtClean="0">
                <a:latin typeface="Arial" charset="0"/>
              </a:rPr>
              <a:t>176,96</a:t>
            </a:r>
            <a:endParaRPr lang="ru-RU" sz="1600" b="1" dirty="0">
              <a:latin typeface="Arial" charset="0"/>
            </a:endParaRPr>
          </a:p>
        </p:txBody>
      </p:sp>
      <p:sp>
        <p:nvSpPr>
          <p:cNvPr id="8" name="AutoShape 12"/>
          <p:cNvSpPr>
            <a:spLocks noChangeArrowheads="1"/>
          </p:cNvSpPr>
          <p:nvPr/>
        </p:nvSpPr>
        <p:spPr bwMode="auto">
          <a:xfrm rot="10800000">
            <a:off x="4001812" y="4429132"/>
            <a:ext cx="855940" cy="1090604"/>
          </a:xfrm>
          <a:prstGeom prst="upArrow">
            <a:avLst>
              <a:gd name="adj1" fmla="val 50000"/>
              <a:gd name="adj2" fmla="val 39263"/>
            </a:avLst>
          </a:prstGeom>
          <a:solidFill>
            <a:srgbClr val="FF0000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rgbClr val="FF3300"/>
            </a:extrusionClr>
          </a:sp3d>
        </p:spPr>
        <p:txBody>
          <a:bodyPr vert="eaVert" wrap="square" anchor="ctr">
            <a:spAutoFit/>
            <a:flatTx/>
          </a:bodyPr>
          <a:lstStyle/>
          <a:p>
            <a:pPr algn="ctr" eaLnBrk="1" hangingPunct="1"/>
            <a:r>
              <a:rPr lang="ru-RU" sz="1600" b="1" dirty="0" smtClean="0">
                <a:latin typeface="Arial" charset="0"/>
              </a:rPr>
              <a:t>-41,69</a:t>
            </a:r>
            <a:endParaRPr lang="ru-RU" sz="1600" b="1" dirty="0">
              <a:latin typeface="Arial" charset="0"/>
            </a:endParaRPr>
          </a:p>
        </p:txBody>
      </p:sp>
      <p:sp>
        <p:nvSpPr>
          <p:cNvPr id="10" name="AutoShape 14"/>
          <p:cNvSpPr>
            <a:spLocks noChangeArrowheads="1"/>
          </p:cNvSpPr>
          <p:nvPr/>
        </p:nvSpPr>
        <p:spPr bwMode="auto">
          <a:xfrm>
            <a:off x="4840551" y="4500570"/>
            <a:ext cx="855940" cy="935038"/>
          </a:xfrm>
          <a:prstGeom prst="upArrow">
            <a:avLst>
              <a:gd name="adj1" fmla="val 50000"/>
              <a:gd name="adj2" fmla="val 29435"/>
            </a:avLst>
          </a:prstGeom>
          <a:solidFill>
            <a:srgbClr val="00FFFF"/>
          </a:soli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chemeClr val="accent3">
                <a:lumMod val="75000"/>
              </a:schemeClr>
            </a:extrusionClr>
          </a:sp3d>
        </p:spPr>
        <p:txBody>
          <a:bodyPr vert="eaVert" wrap="square" anchor="ctr">
            <a:spAutoFit/>
            <a:flatTx/>
          </a:bodyPr>
          <a:lstStyle/>
          <a:p>
            <a:pPr algn="ctr" eaLnBrk="1" hangingPunct="1"/>
            <a:r>
              <a:rPr lang="ru-RU" sz="1600" b="1" dirty="0">
                <a:latin typeface="Arial" charset="0"/>
              </a:rPr>
              <a:t>+ </a:t>
            </a:r>
            <a:r>
              <a:rPr lang="ru-RU" sz="1600" b="1" dirty="0" smtClean="0">
                <a:latin typeface="Arial" charset="0"/>
              </a:rPr>
              <a:t>7,86</a:t>
            </a:r>
            <a:endParaRPr lang="ru-RU" sz="1600" b="1" dirty="0"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98320" name="File"/>
          <p:cNvSpPr>
            <a:spLocks noEditPoints="1" noChangeArrowheads="1"/>
          </p:cNvSpPr>
          <p:nvPr/>
        </p:nvSpPr>
        <p:spPr bwMode="auto">
          <a:xfrm>
            <a:off x="468313" y="1052513"/>
            <a:ext cx="8137525" cy="576262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gradFill rotWithShape="1">
            <a:gsLst>
              <a:gs pos="0">
                <a:srgbClr val="CC99FF">
                  <a:alpha val="57001"/>
                </a:srgbClr>
              </a:gs>
              <a:gs pos="100000">
                <a:srgbClr val="CCCCFF"/>
              </a:gs>
            </a:gsLst>
            <a:path path="rect">
              <a:fillToRect r="100000" b="100000"/>
            </a:path>
          </a:gra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2" name="File"/>
          <p:cNvSpPr>
            <a:spLocks noEditPoints="1" noChangeArrowheads="1"/>
          </p:cNvSpPr>
          <p:nvPr/>
        </p:nvSpPr>
        <p:spPr bwMode="auto">
          <a:xfrm>
            <a:off x="468313" y="1773238"/>
            <a:ext cx="8208962" cy="647700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gradFill rotWithShape="1">
            <a:gsLst>
              <a:gs pos="0">
                <a:srgbClr val="66FF33">
                  <a:alpha val="57001"/>
                </a:srgbClr>
              </a:gs>
              <a:gs pos="100000">
                <a:srgbClr val="99FF99"/>
              </a:gs>
            </a:gsLst>
            <a:path path="rect">
              <a:fillToRect r="100000" b="100000"/>
            </a:path>
          </a:gra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3" name="File"/>
          <p:cNvSpPr>
            <a:spLocks noEditPoints="1" noChangeArrowheads="1"/>
          </p:cNvSpPr>
          <p:nvPr/>
        </p:nvSpPr>
        <p:spPr bwMode="auto">
          <a:xfrm>
            <a:off x="539750" y="4149725"/>
            <a:ext cx="8137525" cy="646113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gradFill rotWithShape="1">
            <a:gsLst>
              <a:gs pos="0">
                <a:srgbClr val="FF99FF">
                  <a:alpha val="57001"/>
                </a:srgbClr>
              </a:gs>
              <a:gs pos="100000">
                <a:srgbClr val="FFCCFF"/>
              </a:gs>
            </a:gsLst>
            <a:path path="rect">
              <a:fillToRect r="100000" b="100000"/>
            </a:path>
          </a:gra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File"/>
          <p:cNvSpPr>
            <a:spLocks noEditPoints="1" noChangeArrowheads="1"/>
          </p:cNvSpPr>
          <p:nvPr/>
        </p:nvSpPr>
        <p:spPr bwMode="auto">
          <a:xfrm>
            <a:off x="500063" y="2571750"/>
            <a:ext cx="8137525" cy="647700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gradFill rotWithShape="1">
            <a:gsLst>
              <a:gs pos="0">
                <a:srgbClr val="3399FF">
                  <a:alpha val="57001"/>
                </a:srgbClr>
              </a:gs>
              <a:gs pos="100000">
                <a:srgbClr val="66CCFF"/>
              </a:gs>
            </a:gsLst>
            <a:path path="rect">
              <a:fillToRect r="100000" b="100000"/>
            </a:path>
          </a:gra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File"/>
          <p:cNvSpPr>
            <a:spLocks noEditPoints="1" noChangeArrowheads="1"/>
          </p:cNvSpPr>
          <p:nvPr/>
        </p:nvSpPr>
        <p:spPr bwMode="auto">
          <a:xfrm>
            <a:off x="500063" y="3357563"/>
            <a:ext cx="8137525" cy="576262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gradFill rotWithShape="1">
            <a:gsLst>
              <a:gs pos="0">
                <a:srgbClr val="FFCC00">
                  <a:alpha val="57001"/>
                </a:srgbClr>
              </a:gs>
              <a:gs pos="100000">
                <a:srgbClr val="FFFFCC"/>
              </a:gs>
            </a:gsLst>
            <a:path path="rect">
              <a:fillToRect r="100000" b="100000"/>
            </a:path>
          </a:gra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File"/>
          <p:cNvSpPr>
            <a:spLocks noEditPoints="1" noChangeArrowheads="1"/>
          </p:cNvSpPr>
          <p:nvPr/>
        </p:nvSpPr>
        <p:spPr bwMode="auto">
          <a:xfrm>
            <a:off x="500063" y="5000625"/>
            <a:ext cx="8137525" cy="647700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gradFill rotWithShape="1">
            <a:gsLst>
              <a:gs pos="0">
                <a:srgbClr val="C0C0C0">
                  <a:alpha val="57001"/>
                </a:srgbClr>
              </a:gs>
              <a:gs pos="100000">
                <a:srgbClr val="DDDDDD"/>
              </a:gs>
            </a:gsLst>
            <a:path path="rect">
              <a:fillToRect r="100000" b="100000"/>
            </a:path>
          </a:gra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File"/>
          <p:cNvSpPr>
            <a:spLocks noEditPoints="1" noChangeArrowheads="1"/>
          </p:cNvSpPr>
          <p:nvPr/>
        </p:nvSpPr>
        <p:spPr bwMode="auto">
          <a:xfrm>
            <a:off x="428625" y="5857875"/>
            <a:ext cx="8208963" cy="649288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rgbClr val="FFFF00">
              <a:alpha val="57001"/>
            </a:srgb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/>
          </a:p>
        </p:txBody>
      </p:sp>
      <p:pic>
        <p:nvPicPr>
          <p:cNvPr id="44052" name="Picture 9" descr="photo-n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19250" y="1052513"/>
            <a:ext cx="1081088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053" name="Picture 10" descr="20100202_mano_anziano_d0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619250" y="1773238"/>
            <a:ext cx="1008063" cy="63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054" name="Picture 12" descr="Zheleznovodsk_admin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643063" y="4143380"/>
            <a:ext cx="1008062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055" name="Picture 13" descr="88899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643042" y="2643182"/>
            <a:ext cx="1008062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056" name="Picture 11" descr="по дороге в Железноводск / Природа / Фотография skill.ru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643042" y="3357562"/>
            <a:ext cx="1008063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057" name="Picture 14" descr="76854_603x35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714500" y="5000625"/>
            <a:ext cx="1008063" cy="62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058" name="Picture 29" descr="1303133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714500" y="5857875"/>
            <a:ext cx="1008063" cy="65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059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Rectangle 19"/>
          <p:cNvSpPr>
            <a:spLocks noChangeArrowheads="1"/>
          </p:cNvSpPr>
          <p:nvPr/>
        </p:nvSpPr>
        <p:spPr bwMode="auto">
          <a:xfrm>
            <a:off x="2967065" y="1214422"/>
            <a:ext cx="5462587" cy="363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</a:pPr>
            <a:r>
              <a:rPr lang="ru-RU" sz="2200" b="1" i="1" dirty="0">
                <a:solidFill>
                  <a:srgbClr val="333300"/>
                </a:solidFill>
                <a:latin typeface="Arial" charset="0"/>
              </a:rPr>
              <a:t> Образование (</a:t>
            </a:r>
            <a:r>
              <a:rPr lang="ru-RU" sz="2200" b="1" i="1" dirty="0" smtClean="0">
                <a:solidFill>
                  <a:srgbClr val="333300"/>
                </a:solidFill>
                <a:latin typeface="Arial" charset="0"/>
              </a:rPr>
              <a:t>465,6 </a:t>
            </a:r>
            <a:r>
              <a:rPr lang="ru-RU" sz="2200" b="1" i="1" dirty="0">
                <a:solidFill>
                  <a:srgbClr val="333300"/>
                </a:solidFill>
                <a:latin typeface="Arial" charset="0"/>
              </a:rPr>
              <a:t>млн. руб.) – </a:t>
            </a:r>
            <a:r>
              <a:rPr lang="ru-RU" sz="2200" b="1" i="1" dirty="0" smtClean="0">
                <a:solidFill>
                  <a:srgbClr val="333300"/>
                </a:solidFill>
                <a:latin typeface="Arial" charset="0"/>
              </a:rPr>
              <a:t>31%</a:t>
            </a:r>
            <a:endParaRPr lang="ru-RU" sz="2200" b="1" i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27" name="Rectangle 19"/>
          <p:cNvSpPr>
            <a:spLocks noChangeArrowheads="1"/>
          </p:cNvSpPr>
          <p:nvPr/>
        </p:nvSpPr>
        <p:spPr bwMode="auto">
          <a:xfrm>
            <a:off x="2571736" y="2000240"/>
            <a:ext cx="6215106" cy="35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  <a:defRPr/>
            </a:pPr>
            <a:r>
              <a:rPr lang="ru-RU" sz="2050" b="1" i="1" dirty="0">
                <a:solidFill>
                  <a:srgbClr val="333300"/>
                </a:solidFill>
                <a:latin typeface="Arial" charset="0"/>
              </a:rPr>
              <a:t>Социальная политика (</a:t>
            </a:r>
            <a:r>
              <a:rPr lang="ru-RU" sz="2050" b="1" i="1" dirty="0" smtClean="0">
                <a:solidFill>
                  <a:srgbClr val="333300"/>
                </a:solidFill>
                <a:latin typeface="Arial" charset="0"/>
              </a:rPr>
              <a:t>299,0 </a:t>
            </a:r>
            <a:r>
              <a:rPr lang="ru-RU" sz="2050" b="1" i="1" dirty="0">
                <a:solidFill>
                  <a:srgbClr val="333300"/>
                </a:solidFill>
                <a:latin typeface="Arial" charset="0"/>
              </a:rPr>
              <a:t>млн. руб.) – </a:t>
            </a:r>
            <a:r>
              <a:rPr lang="ru-RU" sz="2050" b="1" i="1" dirty="0" smtClean="0">
                <a:solidFill>
                  <a:srgbClr val="333300"/>
                </a:solidFill>
                <a:latin typeface="Arial" charset="0"/>
              </a:rPr>
              <a:t>20%</a:t>
            </a:r>
            <a:endParaRPr lang="ru-RU" sz="2050" b="1" i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28" name="Rectangle 19"/>
          <p:cNvSpPr>
            <a:spLocks noChangeArrowheads="1"/>
          </p:cNvSpPr>
          <p:nvPr/>
        </p:nvSpPr>
        <p:spPr bwMode="auto">
          <a:xfrm>
            <a:off x="2643216" y="2786058"/>
            <a:ext cx="6072188" cy="289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600" b="1" i="1" dirty="0">
                <a:solidFill>
                  <a:srgbClr val="333300"/>
                </a:solidFill>
                <a:latin typeface="Arial" charset="0"/>
              </a:rPr>
              <a:t>Жилищно-коммунальное </a:t>
            </a:r>
            <a:r>
              <a:rPr lang="ru-RU" sz="1600" b="1" i="1" dirty="0" smtClean="0">
                <a:solidFill>
                  <a:srgbClr val="333300"/>
                </a:solidFill>
                <a:latin typeface="Arial" charset="0"/>
              </a:rPr>
              <a:t>хозяйство(266,5 </a:t>
            </a:r>
            <a:r>
              <a:rPr lang="ru-RU" sz="1600" b="1" i="1" dirty="0">
                <a:solidFill>
                  <a:srgbClr val="333300"/>
                </a:solidFill>
                <a:latin typeface="Arial" charset="0"/>
              </a:rPr>
              <a:t>млн. руб</a:t>
            </a:r>
            <a:r>
              <a:rPr lang="ru-RU" sz="1600" b="1" i="1" dirty="0" smtClean="0">
                <a:solidFill>
                  <a:srgbClr val="333300"/>
                </a:solidFill>
                <a:latin typeface="Arial" charset="0"/>
              </a:rPr>
              <a:t>.)–18%</a:t>
            </a:r>
            <a:endParaRPr lang="ru-RU" sz="1600" b="1" i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29" name="Rectangle 19"/>
          <p:cNvSpPr>
            <a:spLocks noChangeArrowheads="1"/>
          </p:cNvSpPr>
          <p:nvPr/>
        </p:nvSpPr>
        <p:spPr bwMode="auto">
          <a:xfrm>
            <a:off x="2643174" y="3571876"/>
            <a:ext cx="6072230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</a:pPr>
            <a:r>
              <a:rPr lang="ru-RU" sz="1800" b="1" i="1" dirty="0">
                <a:solidFill>
                  <a:srgbClr val="333300"/>
                </a:solidFill>
                <a:latin typeface="Arial" charset="0"/>
              </a:rPr>
              <a:t>    Национальная </a:t>
            </a:r>
            <a:r>
              <a:rPr lang="ru-RU" sz="1800" b="1" i="1" dirty="0" smtClean="0">
                <a:solidFill>
                  <a:srgbClr val="333300"/>
                </a:solidFill>
                <a:latin typeface="Arial" charset="0"/>
              </a:rPr>
              <a:t>экономика (156,4 </a:t>
            </a:r>
            <a:r>
              <a:rPr lang="ru-RU" sz="1800" b="1" i="1" dirty="0">
                <a:solidFill>
                  <a:srgbClr val="333300"/>
                </a:solidFill>
                <a:latin typeface="Arial" charset="0"/>
              </a:rPr>
              <a:t>млн. руб</a:t>
            </a:r>
            <a:r>
              <a:rPr lang="ru-RU" sz="1800" b="1" i="1" dirty="0" smtClean="0">
                <a:solidFill>
                  <a:srgbClr val="333300"/>
                </a:solidFill>
                <a:latin typeface="Arial" charset="0"/>
              </a:rPr>
              <a:t>.) – 11%</a:t>
            </a:r>
            <a:endParaRPr lang="ru-RU" sz="1800" b="1" i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30" name="Rectangle 19"/>
          <p:cNvSpPr>
            <a:spLocks noChangeArrowheads="1"/>
          </p:cNvSpPr>
          <p:nvPr/>
        </p:nvSpPr>
        <p:spPr bwMode="auto">
          <a:xfrm>
            <a:off x="2571736" y="4429132"/>
            <a:ext cx="6215062" cy="301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700" b="1" i="1" dirty="0">
                <a:solidFill>
                  <a:srgbClr val="333300"/>
                </a:solidFill>
                <a:latin typeface="Arial" charset="0"/>
              </a:rPr>
              <a:t>Общегосударственные вопросы  </a:t>
            </a:r>
            <a:r>
              <a:rPr lang="ru-RU" sz="1700" b="1" i="1" dirty="0" smtClean="0">
                <a:solidFill>
                  <a:srgbClr val="333300"/>
                </a:solidFill>
                <a:latin typeface="Arial" charset="0"/>
              </a:rPr>
              <a:t>(108,3 </a:t>
            </a:r>
            <a:r>
              <a:rPr lang="ru-RU" sz="1700" b="1" i="1" dirty="0">
                <a:solidFill>
                  <a:srgbClr val="333300"/>
                </a:solidFill>
                <a:latin typeface="Arial" charset="0"/>
              </a:rPr>
              <a:t>млн. руб.)– </a:t>
            </a:r>
            <a:r>
              <a:rPr lang="ru-RU" sz="1700" b="1" i="1" dirty="0" smtClean="0">
                <a:solidFill>
                  <a:srgbClr val="333300"/>
                </a:solidFill>
                <a:latin typeface="Arial" charset="0"/>
              </a:rPr>
              <a:t>7%</a:t>
            </a:r>
            <a:endParaRPr lang="ru-RU" sz="1700" b="1" i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31" name="Rectangle 19"/>
          <p:cNvSpPr>
            <a:spLocks noChangeArrowheads="1"/>
          </p:cNvSpPr>
          <p:nvPr/>
        </p:nvSpPr>
        <p:spPr bwMode="auto">
          <a:xfrm>
            <a:off x="2857529" y="5270515"/>
            <a:ext cx="5929313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700" b="1" i="1" dirty="0">
                <a:solidFill>
                  <a:srgbClr val="333300"/>
                </a:solidFill>
                <a:latin typeface="Arial" charset="0"/>
              </a:rPr>
              <a:t>Культура и кинематография  </a:t>
            </a:r>
            <a:r>
              <a:rPr lang="ru-RU" sz="1700" b="1" i="1" dirty="0" smtClean="0">
                <a:solidFill>
                  <a:srgbClr val="333300"/>
                </a:solidFill>
                <a:latin typeface="Arial" charset="0"/>
              </a:rPr>
              <a:t>(100,1 </a:t>
            </a:r>
            <a:r>
              <a:rPr lang="ru-RU" sz="1700" b="1" i="1" dirty="0">
                <a:solidFill>
                  <a:srgbClr val="333300"/>
                </a:solidFill>
                <a:latin typeface="Arial" charset="0"/>
              </a:rPr>
              <a:t>млн. руб.)– </a:t>
            </a:r>
            <a:r>
              <a:rPr lang="ru-RU" sz="1700" b="1" i="1" dirty="0" smtClean="0">
                <a:solidFill>
                  <a:srgbClr val="333300"/>
                </a:solidFill>
                <a:latin typeface="Arial" charset="0"/>
              </a:rPr>
              <a:t>7%</a:t>
            </a:r>
            <a:endParaRPr lang="ru-RU" sz="1700" b="1" i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32" name="Rectangle 19"/>
          <p:cNvSpPr>
            <a:spLocks noChangeArrowheads="1"/>
          </p:cNvSpPr>
          <p:nvPr/>
        </p:nvSpPr>
        <p:spPr bwMode="auto">
          <a:xfrm>
            <a:off x="2857529" y="6127771"/>
            <a:ext cx="5929313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700" b="1" i="1" dirty="0">
                <a:solidFill>
                  <a:srgbClr val="333300"/>
                </a:solidFill>
                <a:latin typeface="Arial" charset="0"/>
              </a:rPr>
              <a:t>Физическая культура и спорт </a:t>
            </a:r>
            <a:r>
              <a:rPr lang="ru-RU" sz="1700" b="1" i="1" dirty="0" smtClean="0">
                <a:solidFill>
                  <a:srgbClr val="333300"/>
                </a:solidFill>
                <a:latin typeface="Arial" charset="0"/>
              </a:rPr>
              <a:t>(68,3 </a:t>
            </a:r>
            <a:r>
              <a:rPr lang="ru-RU" sz="1700" b="1" i="1" dirty="0">
                <a:solidFill>
                  <a:srgbClr val="333300"/>
                </a:solidFill>
                <a:latin typeface="Arial" charset="0"/>
              </a:rPr>
              <a:t>млн. руб.)– </a:t>
            </a:r>
            <a:r>
              <a:rPr lang="ru-RU" sz="1700" b="1" i="1" dirty="0" smtClean="0">
                <a:solidFill>
                  <a:srgbClr val="333300"/>
                </a:solidFill>
                <a:latin typeface="Arial" charset="0"/>
              </a:rPr>
              <a:t>5%</a:t>
            </a:r>
            <a:endParaRPr lang="ru-RU" sz="1700" b="1" i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33" name="AutoShape 2"/>
          <p:cNvSpPr>
            <a:spLocks noChangeArrowheads="1"/>
          </p:cNvSpPr>
          <p:nvPr/>
        </p:nvSpPr>
        <p:spPr bwMode="auto">
          <a:xfrm>
            <a:off x="1571604" y="142852"/>
            <a:ext cx="7077066" cy="857256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Основные направления финансирования </a:t>
            </a:r>
          </a:p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в 2019 году</a:t>
            </a:r>
            <a:endParaRPr lang="ru-RU" b="1" spc="50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0" y="-28558"/>
            <a:ext cx="9144032" cy="6886558"/>
          </a:xfrm>
          <a:prstGeom prst="rect">
            <a:avLst/>
          </a:prstGeom>
          <a:noFill/>
        </p:spPr>
      </p:pic>
      <p:sp>
        <p:nvSpPr>
          <p:cNvPr id="46086" name="Text Box 3"/>
          <p:cNvSpPr txBox="1">
            <a:spLocks noChangeArrowheads="1"/>
          </p:cNvSpPr>
          <p:nvPr/>
        </p:nvSpPr>
        <p:spPr bwMode="auto">
          <a:xfrm>
            <a:off x="7900987" y="2000240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46087" name="Text Box 4"/>
          <p:cNvSpPr txBox="1">
            <a:spLocks noChangeArrowheads="1"/>
          </p:cNvSpPr>
          <p:nvPr/>
        </p:nvSpPr>
        <p:spPr bwMode="auto">
          <a:xfrm>
            <a:off x="1692275" y="1700213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19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6088" name="Text Box 5"/>
          <p:cNvSpPr txBox="1">
            <a:spLocks noChangeArrowheads="1"/>
          </p:cNvSpPr>
          <p:nvPr/>
        </p:nvSpPr>
        <p:spPr bwMode="auto">
          <a:xfrm>
            <a:off x="4284663" y="1700213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0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6089" name="Text Box 6"/>
          <p:cNvSpPr txBox="1">
            <a:spLocks noChangeArrowheads="1"/>
          </p:cNvSpPr>
          <p:nvPr/>
        </p:nvSpPr>
        <p:spPr bwMode="auto">
          <a:xfrm>
            <a:off x="6877050" y="1702346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1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6090" name="AutoShape 7"/>
          <p:cNvSpPr>
            <a:spLocks noChangeArrowheads="1"/>
          </p:cNvSpPr>
          <p:nvPr/>
        </p:nvSpPr>
        <p:spPr bwMode="auto">
          <a:xfrm>
            <a:off x="1403350" y="2133600"/>
            <a:ext cx="1511300" cy="2303463"/>
          </a:xfrm>
          <a:prstGeom prst="cube">
            <a:avLst>
              <a:gd name="adj" fmla="val 25000"/>
            </a:avLst>
          </a:prstGeom>
          <a:solidFill>
            <a:srgbClr val="99FF66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 381,6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1" name="AutoShape 8"/>
          <p:cNvSpPr>
            <a:spLocks noChangeArrowheads="1"/>
          </p:cNvSpPr>
          <p:nvPr/>
        </p:nvSpPr>
        <p:spPr bwMode="auto">
          <a:xfrm>
            <a:off x="3995738" y="2357430"/>
            <a:ext cx="1439862" cy="2000264"/>
          </a:xfrm>
          <a:prstGeom prst="cube">
            <a:avLst>
              <a:gd name="adj" fmla="val 25000"/>
            </a:avLst>
          </a:prstGeom>
          <a:solidFill>
            <a:srgbClr val="99FF66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958,6</a:t>
            </a:r>
            <a:endParaRPr lang="ru-RU" b="1" dirty="0">
              <a:latin typeface="Arial" pitchFamily="34" charset="0"/>
            </a:endParaRPr>
          </a:p>
          <a:p>
            <a:pPr algn="ctr" eaLnBrk="1" hangingPunct="1"/>
            <a:endParaRPr lang="ru-RU" b="1" dirty="0">
              <a:latin typeface="Arial" pitchFamily="34" charset="0"/>
            </a:endParaRPr>
          </a:p>
        </p:txBody>
      </p:sp>
      <p:sp>
        <p:nvSpPr>
          <p:cNvPr id="46092" name="AutoShape 9"/>
          <p:cNvSpPr>
            <a:spLocks noChangeArrowheads="1"/>
          </p:cNvSpPr>
          <p:nvPr/>
        </p:nvSpPr>
        <p:spPr bwMode="auto">
          <a:xfrm>
            <a:off x="6516688" y="2357430"/>
            <a:ext cx="1439862" cy="1935170"/>
          </a:xfrm>
          <a:prstGeom prst="cube">
            <a:avLst>
              <a:gd name="adj" fmla="val 25000"/>
            </a:avLst>
          </a:prstGeom>
          <a:solidFill>
            <a:srgbClr val="99FF66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>
                <a:latin typeface="Arial" pitchFamily="34" charset="0"/>
              </a:rPr>
              <a:t>   </a:t>
            </a:r>
            <a:r>
              <a:rPr lang="ru-RU" b="1" dirty="0" smtClean="0">
                <a:latin typeface="Arial" pitchFamily="34" charset="0"/>
              </a:rPr>
              <a:t>953,6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3" name="AutoShape 10"/>
          <p:cNvSpPr>
            <a:spLocks noChangeArrowheads="1"/>
          </p:cNvSpPr>
          <p:nvPr/>
        </p:nvSpPr>
        <p:spPr bwMode="auto">
          <a:xfrm>
            <a:off x="1403350" y="4572008"/>
            <a:ext cx="1439863" cy="857256"/>
          </a:xfrm>
          <a:prstGeom prst="cube">
            <a:avLst>
              <a:gd name="adj" fmla="val 25000"/>
            </a:avLst>
          </a:prstGeom>
          <a:solidFill>
            <a:srgbClr val="FF9999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97,0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4" name="AutoShape 11"/>
          <p:cNvSpPr>
            <a:spLocks noChangeArrowheads="1"/>
          </p:cNvSpPr>
          <p:nvPr/>
        </p:nvSpPr>
        <p:spPr bwMode="auto">
          <a:xfrm>
            <a:off x="3995738" y="4508500"/>
            <a:ext cx="1439862" cy="647700"/>
          </a:xfrm>
          <a:prstGeom prst="cube">
            <a:avLst>
              <a:gd name="adj" fmla="val 25000"/>
            </a:avLst>
          </a:prstGeom>
          <a:solidFill>
            <a:srgbClr val="FF9999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90,2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5" name="AutoShape 12"/>
          <p:cNvSpPr>
            <a:spLocks noChangeArrowheads="1"/>
          </p:cNvSpPr>
          <p:nvPr/>
        </p:nvSpPr>
        <p:spPr bwMode="auto">
          <a:xfrm>
            <a:off x="6516688" y="4437063"/>
            <a:ext cx="1439862" cy="647700"/>
          </a:xfrm>
          <a:prstGeom prst="cube">
            <a:avLst>
              <a:gd name="adj" fmla="val 25000"/>
            </a:avLst>
          </a:prstGeom>
          <a:solidFill>
            <a:srgbClr val="FF9999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90,4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6" name="AutoShape 15"/>
          <p:cNvSpPr>
            <a:spLocks/>
          </p:cNvSpPr>
          <p:nvPr/>
        </p:nvSpPr>
        <p:spPr bwMode="auto">
          <a:xfrm>
            <a:off x="1042988" y="2133600"/>
            <a:ext cx="71437" cy="2305050"/>
          </a:xfrm>
          <a:prstGeom prst="leftBrace">
            <a:avLst>
              <a:gd name="adj1" fmla="val 268891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097" name="Text Box 16"/>
          <p:cNvSpPr txBox="1">
            <a:spLocks noChangeArrowheads="1"/>
          </p:cNvSpPr>
          <p:nvPr/>
        </p:nvSpPr>
        <p:spPr bwMode="auto">
          <a:xfrm>
            <a:off x="569213" y="2928933"/>
            <a:ext cx="430887" cy="7143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3,4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098" name="Text Box 17"/>
          <p:cNvSpPr txBox="1">
            <a:spLocks noChangeArrowheads="1"/>
          </p:cNvSpPr>
          <p:nvPr/>
        </p:nvSpPr>
        <p:spPr bwMode="auto">
          <a:xfrm>
            <a:off x="569213" y="4708539"/>
            <a:ext cx="430887" cy="5778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6,6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099" name="Text Box 18"/>
          <p:cNvSpPr txBox="1">
            <a:spLocks noChangeArrowheads="1"/>
          </p:cNvSpPr>
          <p:nvPr/>
        </p:nvSpPr>
        <p:spPr bwMode="auto">
          <a:xfrm>
            <a:off x="3286116" y="3000372"/>
            <a:ext cx="430887" cy="792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0,3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100" name="Text Box 19"/>
          <p:cNvSpPr txBox="1">
            <a:spLocks noChangeArrowheads="1"/>
          </p:cNvSpPr>
          <p:nvPr/>
        </p:nvSpPr>
        <p:spPr bwMode="auto">
          <a:xfrm>
            <a:off x="3286116" y="4508501"/>
            <a:ext cx="430887" cy="5635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8,5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101" name="Text Box 21"/>
          <p:cNvSpPr txBox="1">
            <a:spLocks noChangeArrowheads="1"/>
          </p:cNvSpPr>
          <p:nvPr/>
        </p:nvSpPr>
        <p:spPr bwMode="auto">
          <a:xfrm>
            <a:off x="5786446" y="2928934"/>
            <a:ext cx="430887" cy="792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89,2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102" name="Text Box 22"/>
          <p:cNvSpPr txBox="1">
            <a:spLocks noChangeArrowheads="1"/>
          </p:cNvSpPr>
          <p:nvPr/>
        </p:nvSpPr>
        <p:spPr bwMode="auto">
          <a:xfrm>
            <a:off x="5715008" y="4357694"/>
            <a:ext cx="430887" cy="6429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>
                <a:latin typeface="Arial" pitchFamily="34" charset="0"/>
              </a:rPr>
              <a:t> </a:t>
            </a:r>
            <a:r>
              <a:rPr lang="ru-RU" sz="1600" b="1" dirty="0" smtClean="0">
                <a:latin typeface="Arial" pitchFamily="34" charset="0"/>
              </a:rPr>
              <a:t>8,4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103" name="AutoShape 24"/>
          <p:cNvSpPr>
            <a:spLocks/>
          </p:cNvSpPr>
          <p:nvPr/>
        </p:nvSpPr>
        <p:spPr bwMode="auto">
          <a:xfrm>
            <a:off x="1116013" y="4508500"/>
            <a:ext cx="142875" cy="792163"/>
          </a:xfrm>
          <a:prstGeom prst="leftBrace">
            <a:avLst>
              <a:gd name="adj1" fmla="val 46204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04" name="AutoShape 25"/>
          <p:cNvSpPr>
            <a:spLocks/>
          </p:cNvSpPr>
          <p:nvPr/>
        </p:nvSpPr>
        <p:spPr bwMode="auto">
          <a:xfrm>
            <a:off x="6286513" y="2420938"/>
            <a:ext cx="71437" cy="1871662"/>
          </a:xfrm>
          <a:prstGeom prst="leftBrace">
            <a:avLst>
              <a:gd name="adj1" fmla="val 218335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05" name="AutoShape 26"/>
          <p:cNvSpPr>
            <a:spLocks/>
          </p:cNvSpPr>
          <p:nvPr/>
        </p:nvSpPr>
        <p:spPr bwMode="auto">
          <a:xfrm>
            <a:off x="3779838" y="4437063"/>
            <a:ext cx="144462" cy="647700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06" name="AutoShape 28"/>
          <p:cNvSpPr>
            <a:spLocks noChangeArrowheads="1"/>
          </p:cNvSpPr>
          <p:nvPr/>
        </p:nvSpPr>
        <p:spPr bwMode="auto">
          <a:xfrm>
            <a:off x="214313" y="5786438"/>
            <a:ext cx="719137" cy="503237"/>
          </a:xfrm>
          <a:prstGeom prst="cube">
            <a:avLst>
              <a:gd name="adj" fmla="val 25000"/>
            </a:avLst>
          </a:prstGeom>
          <a:solidFill>
            <a:srgbClr val="99FF66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46107" name="Содержимое 5"/>
          <p:cNvSpPr>
            <a:spLocks/>
          </p:cNvSpPr>
          <p:nvPr/>
        </p:nvSpPr>
        <p:spPr bwMode="auto">
          <a:xfrm>
            <a:off x="928662" y="5857875"/>
            <a:ext cx="3643313" cy="428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>
                <a:cs typeface="Times New Roman" pitchFamily="18" charset="0"/>
              </a:rPr>
              <a:t>Муниципальные программы</a:t>
            </a:r>
          </a:p>
        </p:txBody>
      </p:sp>
      <p:sp>
        <p:nvSpPr>
          <p:cNvPr id="46108" name="AutoShape 30"/>
          <p:cNvSpPr>
            <a:spLocks noChangeArrowheads="1"/>
          </p:cNvSpPr>
          <p:nvPr/>
        </p:nvSpPr>
        <p:spPr bwMode="auto">
          <a:xfrm>
            <a:off x="4572000" y="5786438"/>
            <a:ext cx="720725" cy="476250"/>
          </a:xfrm>
          <a:prstGeom prst="cube">
            <a:avLst>
              <a:gd name="adj" fmla="val 25000"/>
            </a:avLst>
          </a:prstGeom>
          <a:solidFill>
            <a:srgbClr val="FF9999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46109" name="AutoShape 31"/>
          <p:cNvSpPr>
            <a:spLocks/>
          </p:cNvSpPr>
          <p:nvPr/>
        </p:nvSpPr>
        <p:spPr bwMode="auto">
          <a:xfrm>
            <a:off x="3784596" y="2270131"/>
            <a:ext cx="144462" cy="2016125"/>
          </a:xfrm>
          <a:prstGeom prst="leftBrace">
            <a:avLst>
              <a:gd name="adj1" fmla="val 116301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10" name="AutoShape 32"/>
          <p:cNvSpPr>
            <a:spLocks/>
          </p:cNvSpPr>
          <p:nvPr/>
        </p:nvSpPr>
        <p:spPr bwMode="auto">
          <a:xfrm>
            <a:off x="6227763" y="4365625"/>
            <a:ext cx="144462" cy="647700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11" name="Содержимое 5"/>
          <p:cNvSpPr>
            <a:spLocks/>
          </p:cNvSpPr>
          <p:nvPr/>
        </p:nvSpPr>
        <p:spPr bwMode="auto">
          <a:xfrm>
            <a:off x="5286375" y="5805489"/>
            <a:ext cx="3857625" cy="481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>
                <a:cs typeface="Times New Roman" pitchFamily="18" charset="0"/>
              </a:rPr>
              <a:t>Непрограммные направления</a:t>
            </a:r>
          </a:p>
        </p:txBody>
      </p:sp>
      <p:sp>
        <p:nvSpPr>
          <p:cNvPr id="31" name="AutoShape 10"/>
          <p:cNvSpPr>
            <a:spLocks noChangeArrowheads="1"/>
          </p:cNvSpPr>
          <p:nvPr/>
        </p:nvSpPr>
        <p:spPr bwMode="auto">
          <a:xfrm>
            <a:off x="4000496" y="5357826"/>
            <a:ext cx="1439863" cy="285752"/>
          </a:xfrm>
          <a:prstGeom prst="cube">
            <a:avLst>
              <a:gd name="adj" fmla="val 25000"/>
            </a:avLst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sz="1800" b="1" dirty="0" smtClean="0">
                <a:latin typeface="Arial" pitchFamily="34" charset="0"/>
              </a:rPr>
              <a:t>12,9</a:t>
            </a:r>
            <a:endParaRPr lang="ru-RU" sz="1800" b="1" dirty="0">
              <a:latin typeface="Arial" pitchFamily="34" charset="0"/>
            </a:endParaRPr>
          </a:p>
        </p:txBody>
      </p:sp>
      <p:sp>
        <p:nvSpPr>
          <p:cNvPr id="32" name="Text Box 19"/>
          <p:cNvSpPr txBox="1">
            <a:spLocks noChangeArrowheads="1"/>
          </p:cNvSpPr>
          <p:nvPr/>
        </p:nvSpPr>
        <p:spPr bwMode="auto">
          <a:xfrm>
            <a:off x="3286116" y="5214950"/>
            <a:ext cx="430887" cy="5715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1,2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33" name="AutoShape 10"/>
          <p:cNvSpPr>
            <a:spLocks noChangeArrowheads="1"/>
          </p:cNvSpPr>
          <p:nvPr/>
        </p:nvSpPr>
        <p:spPr bwMode="auto">
          <a:xfrm>
            <a:off x="6500826" y="5286388"/>
            <a:ext cx="1439863" cy="357190"/>
          </a:xfrm>
          <a:prstGeom prst="cube">
            <a:avLst>
              <a:gd name="adj" fmla="val 25000"/>
            </a:avLst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sz="1800" b="1" dirty="0" smtClean="0">
                <a:latin typeface="Arial" pitchFamily="34" charset="0"/>
              </a:rPr>
              <a:t>25,6</a:t>
            </a:r>
            <a:endParaRPr lang="ru-RU" sz="1800" b="1" dirty="0">
              <a:latin typeface="Arial" pitchFamily="34" charset="0"/>
            </a:endParaRPr>
          </a:p>
        </p:txBody>
      </p:sp>
      <p:sp>
        <p:nvSpPr>
          <p:cNvPr id="34" name="AutoShape 26"/>
          <p:cNvSpPr>
            <a:spLocks/>
          </p:cNvSpPr>
          <p:nvPr/>
        </p:nvSpPr>
        <p:spPr bwMode="auto">
          <a:xfrm>
            <a:off x="3786182" y="5299428"/>
            <a:ext cx="71438" cy="415588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ru-RU"/>
          </a:p>
        </p:txBody>
      </p:sp>
      <p:sp>
        <p:nvSpPr>
          <p:cNvPr id="35" name="AutoShape 26"/>
          <p:cNvSpPr>
            <a:spLocks/>
          </p:cNvSpPr>
          <p:nvPr/>
        </p:nvSpPr>
        <p:spPr bwMode="auto">
          <a:xfrm>
            <a:off x="6286512" y="5299428"/>
            <a:ext cx="71438" cy="415588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ru-RU"/>
          </a:p>
        </p:txBody>
      </p:sp>
      <p:sp>
        <p:nvSpPr>
          <p:cNvPr id="36" name="Text Box 19"/>
          <p:cNvSpPr txBox="1">
            <a:spLocks noChangeArrowheads="1"/>
          </p:cNvSpPr>
          <p:nvPr/>
        </p:nvSpPr>
        <p:spPr bwMode="auto">
          <a:xfrm>
            <a:off x="5786446" y="5214950"/>
            <a:ext cx="430887" cy="5715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smtClean="0">
                <a:latin typeface="Arial" pitchFamily="34" charset="0"/>
              </a:rPr>
              <a:t>2,4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37" name="AutoShape 28"/>
          <p:cNvSpPr>
            <a:spLocks noChangeArrowheads="1"/>
          </p:cNvSpPr>
          <p:nvPr/>
        </p:nvSpPr>
        <p:spPr bwMode="auto">
          <a:xfrm>
            <a:off x="214313" y="6357964"/>
            <a:ext cx="719137" cy="357184"/>
          </a:xfrm>
          <a:prstGeom prst="cube">
            <a:avLst>
              <a:gd name="adj" fmla="val 25000"/>
            </a:avLst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38" name="Содержимое 5"/>
          <p:cNvSpPr>
            <a:spLocks/>
          </p:cNvSpPr>
          <p:nvPr/>
        </p:nvSpPr>
        <p:spPr bwMode="auto">
          <a:xfrm>
            <a:off x="928662" y="6357964"/>
            <a:ext cx="4000503" cy="357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 smtClean="0">
                <a:cs typeface="Times New Roman" pitchFamily="18" charset="0"/>
              </a:rPr>
              <a:t>Условно утвержденные расходы</a:t>
            </a:r>
            <a:endParaRPr lang="ru-RU" b="1" dirty="0">
              <a:cs typeface="Times New Roman" pitchFamily="18" charset="0"/>
            </a:endParaRPr>
          </a:p>
        </p:txBody>
      </p:sp>
      <p:sp>
        <p:nvSpPr>
          <p:cNvPr id="39" name="AutoShape 2"/>
          <p:cNvSpPr>
            <a:spLocks noChangeArrowheads="1"/>
          </p:cNvSpPr>
          <p:nvPr/>
        </p:nvSpPr>
        <p:spPr bwMode="auto">
          <a:xfrm>
            <a:off x="1214414" y="142852"/>
            <a:ext cx="7648570" cy="1285884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бюджета города-курорта Железноводска в разрезе муниципальных программ и непрограммных  направлений деятельности на 2019 год и плановый период 2020 и 2021 годов</a:t>
            </a:r>
            <a:endParaRPr lang="ru-RU" b="1" dirty="0">
              <a:solidFill>
                <a:schemeClr val="bg1"/>
              </a:solidFill>
            </a:endParaRPr>
          </a:p>
        </p:txBody>
      </p:sp>
      <p:pic>
        <p:nvPicPr>
          <p:cNvPr id="40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5124" name="Rectangle 2"/>
          <p:cNvSpPr>
            <a:spLocks noChangeArrowheads="1"/>
          </p:cNvSpPr>
          <p:nvPr/>
        </p:nvSpPr>
        <p:spPr bwMode="auto">
          <a:xfrm>
            <a:off x="179388" y="188913"/>
            <a:ext cx="8351837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900" b="1">
              <a:solidFill>
                <a:srgbClr val="CC3300"/>
              </a:solidFill>
            </a:endParaRPr>
          </a:p>
        </p:txBody>
      </p:sp>
      <p:graphicFrame>
        <p:nvGraphicFramePr>
          <p:cNvPr id="5122" name="Object 5"/>
          <p:cNvGraphicFramePr>
            <a:graphicFrameLocks noChangeAspect="1"/>
          </p:cNvGraphicFramePr>
          <p:nvPr/>
        </p:nvGraphicFramePr>
        <p:xfrm>
          <a:off x="-1333500" y="1500174"/>
          <a:ext cx="12510796" cy="5421345"/>
        </p:xfrm>
        <a:graphic>
          <a:graphicData uri="http://schemas.openxmlformats.org/presentationml/2006/ole">
            <p:oleObj spid="_x0000_s5122" name="Worksheet" r:id="rId4" imgW="8848662" imgH="3762334" progId="Excel.Sheet.8">
              <p:embed/>
            </p:oleObj>
          </a:graphicData>
        </a:graphic>
      </p:graphicFrame>
      <p:pic>
        <p:nvPicPr>
          <p:cNvPr id="5125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643042" y="214290"/>
            <a:ext cx="7077066" cy="100013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сходы бюджета города-курорта Железноводска                   </a:t>
            </a:r>
          </a:p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Ставропольского края в разрезе разделов  на 2019 год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6149" name="Rectangle 2"/>
          <p:cNvSpPr>
            <a:spLocks noChangeArrowheads="1"/>
          </p:cNvSpPr>
          <p:nvPr/>
        </p:nvSpPr>
        <p:spPr bwMode="auto">
          <a:xfrm>
            <a:off x="0" y="188913"/>
            <a:ext cx="9144000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900" b="1">
              <a:solidFill>
                <a:srgbClr val="CC3300"/>
              </a:solidFill>
            </a:endParaRPr>
          </a:p>
        </p:txBody>
      </p:sp>
      <p:graphicFrame>
        <p:nvGraphicFramePr>
          <p:cNvPr id="6146" name="Object 5"/>
          <p:cNvGraphicFramePr>
            <a:graphicFrameLocks noChangeAspect="1"/>
          </p:cNvGraphicFramePr>
          <p:nvPr/>
        </p:nvGraphicFramePr>
        <p:xfrm>
          <a:off x="-635000" y="1425575"/>
          <a:ext cx="6215063" cy="4805363"/>
        </p:xfrm>
        <a:graphic>
          <a:graphicData uri="http://schemas.openxmlformats.org/presentationml/2006/ole">
            <p:oleObj spid="_x0000_s6146" name="Worksheet" r:id="rId4" imgW="7210391" imgH="5581687" progId="Excel.Sheet.8">
              <p:embed/>
            </p:oleObj>
          </a:graphicData>
        </a:graphic>
      </p:graphicFrame>
      <p:graphicFrame>
        <p:nvGraphicFramePr>
          <p:cNvPr id="6147" name="Object 3"/>
          <p:cNvGraphicFramePr>
            <a:graphicFrameLocks noChangeAspect="1"/>
          </p:cNvGraphicFramePr>
          <p:nvPr/>
        </p:nvGraphicFramePr>
        <p:xfrm>
          <a:off x="3130550" y="4076700"/>
          <a:ext cx="6045200" cy="4152900"/>
        </p:xfrm>
        <a:graphic>
          <a:graphicData uri="http://schemas.openxmlformats.org/presentationml/2006/ole">
            <p:oleObj spid="_x0000_s6147" name="Worksheet" r:id="rId5" imgW="5381541" imgH="3705108" progId="Excel.Sheet.8">
              <p:embed/>
            </p:oleObj>
          </a:graphicData>
        </a:graphic>
      </p:graphicFrame>
      <p:sp>
        <p:nvSpPr>
          <p:cNvPr id="6150" name="Text Box 6"/>
          <p:cNvSpPr txBox="1">
            <a:spLocks noChangeArrowheads="1"/>
          </p:cNvSpPr>
          <p:nvPr/>
        </p:nvSpPr>
        <p:spPr bwMode="auto">
          <a:xfrm>
            <a:off x="6215063" y="1487488"/>
            <a:ext cx="2000250" cy="584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200" b="1" dirty="0"/>
              <a:t>2020 год</a:t>
            </a:r>
          </a:p>
        </p:txBody>
      </p:sp>
      <p:pic>
        <p:nvPicPr>
          <p:cNvPr id="6151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571604" y="142852"/>
            <a:ext cx="7077066" cy="1214446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сходы бюджета города-курорта Железноводска                   </a:t>
            </a:r>
          </a:p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Ставропольского края в разрезе разделов на плановый период  2020 и 2021 годов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1" name="Text Box 6"/>
          <p:cNvSpPr txBox="1">
            <a:spLocks noChangeArrowheads="1"/>
          </p:cNvSpPr>
          <p:nvPr/>
        </p:nvSpPr>
        <p:spPr bwMode="auto">
          <a:xfrm>
            <a:off x="6786578" y="3286124"/>
            <a:ext cx="1857388" cy="584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3200" b="1" dirty="0" smtClean="0"/>
              <a:t>2021 </a:t>
            </a:r>
            <a:r>
              <a:rPr lang="ru-RU" sz="3200" b="1" dirty="0"/>
              <a:t>год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7107" name="Rectangle 2"/>
          <p:cNvSpPr>
            <a:spLocks noChangeArrowheads="1"/>
          </p:cNvSpPr>
          <p:nvPr/>
        </p:nvSpPr>
        <p:spPr bwMode="auto">
          <a:xfrm>
            <a:off x="285750" y="1071563"/>
            <a:ext cx="6072200" cy="1571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b="1" dirty="0"/>
              <a:t>В городе-курорте Железноводске Ставропольского края осуществляют свою деятельность 28 муниципальных образовательных учреждений, в том числе: 14 дошкольных образовательных учреждений, 5 учреждений дополнительного образования детей, 9 общеобразовательных учреждений.</a:t>
            </a:r>
          </a:p>
        </p:txBody>
      </p:sp>
      <p:sp>
        <p:nvSpPr>
          <p:cNvPr id="47108" name="Rectangle 2"/>
          <p:cNvSpPr>
            <a:spLocks noChangeArrowheads="1"/>
          </p:cNvSpPr>
          <p:nvPr/>
        </p:nvSpPr>
        <p:spPr bwMode="auto">
          <a:xfrm>
            <a:off x="0" y="285750"/>
            <a:ext cx="9144000" cy="71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2800" b="1">
              <a:solidFill>
                <a:srgbClr val="7030A0"/>
              </a:solidFill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/>
        </p:nvGraphicFramePr>
        <p:xfrm>
          <a:off x="428596" y="3500438"/>
          <a:ext cx="8143875" cy="3152797"/>
        </p:xfrm>
        <a:graphic>
          <a:graphicData uri="http://schemas.openxmlformats.org/drawingml/2006/table">
            <a:tbl>
              <a:tblPr/>
              <a:tblGrid>
                <a:gridCol w="642942"/>
                <a:gridCol w="2214558"/>
                <a:gridCol w="1143000"/>
                <a:gridCol w="1152525"/>
                <a:gridCol w="990600"/>
                <a:gridCol w="1000125"/>
                <a:gridCol w="1000125"/>
              </a:tblGrid>
              <a:tr h="4953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тыс. рублей)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0797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7 (фа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8 (оценка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</a:tr>
              <a:tr h="26668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раз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48 784,5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2 055,5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5 588,99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50 926,0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46 708,9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</a:tr>
              <a:tr h="30167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школьное образование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9 886,58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9 974,4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3 707,0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4 768,4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8 354,1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</a:tr>
              <a:tr h="29051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ее образование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4 798,89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8 020,5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5 896,59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3 111,19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6 095,1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полнительное образование детей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 450,49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9 472,0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1 701,6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9 318,14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 715,8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</a:tr>
              <a:tr h="29051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лодежная политика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 100,6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 506,0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 181,8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 181,8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181,8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</a:tr>
              <a:tr h="5048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7 09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образования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 547,9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 082,5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 101,94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 546,4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 362,0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</a:tr>
            </a:tbl>
          </a:graphicData>
        </a:graphic>
      </p:graphicFrame>
      <p:sp>
        <p:nvSpPr>
          <p:cNvPr id="47174" name="Rectangle 1"/>
          <p:cNvSpPr>
            <a:spLocks noChangeArrowheads="1"/>
          </p:cNvSpPr>
          <p:nvPr/>
        </p:nvSpPr>
        <p:spPr bwMode="auto">
          <a:xfrm>
            <a:off x="1500166" y="2928934"/>
            <a:ext cx="6069012" cy="33813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cs typeface="Times New Roman" pitchFamily="18" charset="0"/>
              </a:rPr>
              <a:t>Структура расходов бюджета по образованию в 2017-2021 годах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571604" y="214290"/>
            <a:ext cx="6357982" cy="571504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Образование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4717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154" name="AutoShape 2" descr="ÐÐ¾ÑÐ¾Ð¶ÐµÐµ Ð¸Ð·Ð¾Ð±ÑÐ°Ð¶ÐµÐ½Ð¸Ðµ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9156" name="AutoShape 4" descr="ÐÐ¾ÑÐ¾Ð¶ÐµÐµ Ð¸Ð·Ð¾Ð±ÑÐ°Ð¶ÐµÐ½Ð¸Ðµ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9158" name="AutoShape 6" descr="ÐÐ»Ð»ÑÑÑÑÐ°ÑÐ¸Ñ Ð´ÐµÑÐµÐ¹, ÑÐ¸Ð´Ñ Ð½Ð° ÑÐºÐ°Ð¼ÐµÐ¹ÐºÐµ Ð²Ð¾ Ð²ÑÐµÐ¼Ñ ÑÑÐµÐ½Ð¸Ñ Ð¤Ð¾ÑÐ¾ ÑÐ¾ ÑÑÐ¾ÐºÐ° - 19109852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9160" name="AutoShape 8" descr="Ãcole Ã©lÃ©mentaire des enfants de l'Ã©ducation et l'Ã©cole de formation de concept vecteur personnes Ãcole Ã©lÃ©mentaire des enfants de lÃ©ducation et lÃ©cole de formation de concept vecteur personnes â cliparts vectoriels et plus d'images de enfant libre de droit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6" name="Рисунок 15" descr="ÑÐºÐ¾Ð»Ð° ÐºÐ°ÑÑÐ¸Ð½ÐºÐ¸ Ð´Ð»Ñ Ð´ÐµÑÐµÐ¹"/>
          <p:cNvPicPr/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357950" y="1071546"/>
            <a:ext cx="2786050" cy="171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graphicFrame>
        <p:nvGraphicFramePr>
          <p:cNvPr id="8194" name="Object 12"/>
          <p:cNvGraphicFramePr>
            <a:graphicFrameLocks noGrp="1" noChangeAspect="1"/>
          </p:cNvGraphicFramePr>
          <p:nvPr/>
        </p:nvGraphicFramePr>
        <p:xfrm>
          <a:off x="-571536" y="2071680"/>
          <a:ext cx="7072362" cy="5358528"/>
        </p:xfrm>
        <a:graphic>
          <a:graphicData uri="http://schemas.openxmlformats.org/presentationml/2006/ole">
            <p:oleObj spid="_x0000_s8194" name="Worksheet" r:id="rId4" imgW="5762698" imgH="4371844" progId="Excel.Sheet.8">
              <p:embed/>
            </p:oleObj>
          </a:graphicData>
        </a:graphic>
      </p:graphicFrame>
      <p:sp>
        <p:nvSpPr>
          <p:cNvPr id="8196" name="Text Box 7"/>
          <p:cNvSpPr txBox="1">
            <a:spLocks noChangeArrowheads="1"/>
          </p:cNvSpPr>
          <p:nvPr/>
        </p:nvSpPr>
        <p:spPr bwMode="auto">
          <a:xfrm>
            <a:off x="5143504" y="2143116"/>
            <a:ext cx="12938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  <p:sp>
        <p:nvSpPr>
          <p:cNvPr id="8197" name="Rectangle 2"/>
          <p:cNvSpPr>
            <a:spLocks noChangeArrowheads="1"/>
          </p:cNvSpPr>
          <p:nvPr/>
        </p:nvSpPr>
        <p:spPr bwMode="auto">
          <a:xfrm>
            <a:off x="357158" y="1071546"/>
            <a:ext cx="8572500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/>
            <a:r>
              <a:rPr lang="ru-RU" sz="1400" b="1" dirty="0"/>
              <a:t>Увеличение </a:t>
            </a:r>
            <a:r>
              <a:rPr lang="ru-RU" sz="1400" b="1" dirty="0" smtClean="0"/>
              <a:t>расходов по отрасли </a:t>
            </a:r>
            <a:r>
              <a:rPr lang="ru-RU" sz="1400" b="1" dirty="0"/>
              <a:t>в </a:t>
            </a:r>
            <a:r>
              <a:rPr lang="ru-RU" sz="1400" b="1" dirty="0" smtClean="0"/>
              <a:t>2018 и в 2019 годах </a:t>
            </a:r>
            <a:r>
              <a:rPr lang="ru-RU" sz="1400" b="1" dirty="0"/>
              <a:t>связано с предоставлением субсидии из краевого бюджета на осуществление ремонта </a:t>
            </a:r>
            <a:r>
              <a:rPr lang="ru-RU" sz="1400" b="1" dirty="0" smtClean="0"/>
              <a:t>кровли и благоустройство территорий муниципальных общеобразовательных учреждений, </a:t>
            </a:r>
            <a:r>
              <a:rPr lang="ru-RU" sz="1400" b="1" dirty="0"/>
              <a:t>а также </a:t>
            </a:r>
            <a:r>
              <a:rPr lang="ru-RU" sz="1400" b="1" dirty="0" smtClean="0"/>
              <a:t>на замену окон в дошкольных образовательных учреждениях и учреждениях дополнительного образования.</a:t>
            </a:r>
            <a:endParaRPr lang="ru-RU" sz="1400" b="1" dirty="0"/>
          </a:p>
        </p:txBody>
      </p:sp>
      <p:pic>
        <p:nvPicPr>
          <p:cNvPr id="819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2000232" y="285728"/>
            <a:ext cx="6357982" cy="571504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Образование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2" name="AutoShape 4" descr="Ãcole Ã©lÃ©mentaire des enfants de l'Ã©ducation et l'Ã©cole de formation de concept vecteur personnes Ãcole Ã©lÃ©mentaire des enfants de lÃ©ducation et lÃ©cole de formation de concept vecteur personnes â cliparts vectoriels et plus d'images de enfant libre de droit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" name="Picture 4" descr="http://kladraz.ru/upload/blogs2/2016/10/5831_ae9189aebb136bd39d9c5c5d9a72f463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357786" y="4774067"/>
            <a:ext cx="3786214" cy="208393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pic>
        <p:nvPicPr>
          <p:cNvPr id="29699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214414" y="142852"/>
            <a:ext cx="6643734" cy="64770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sz="2400" b="1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Основные понятия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000125" y="1000125"/>
            <a:ext cx="7715250" cy="53340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форма образования и расходования денежных средств, предназначенных для финансового обеспечения задач и функций государства и местного самоуправления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795338" y="4286250"/>
            <a:ext cx="1133475" cy="428625"/>
          </a:xfrm>
          <a:prstGeom prst="roundRect">
            <a:avLst/>
          </a:prstGeom>
          <a:solidFill>
            <a:srgbClr val="B2FC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286125" y="4286250"/>
            <a:ext cx="1133475" cy="428625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786438" y="4857750"/>
            <a:ext cx="3000375" cy="928688"/>
          </a:xfrm>
          <a:prstGeom prst="roundRect">
            <a:avLst/>
          </a:prstGeom>
          <a:solidFill>
            <a:srgbClr val="F9A1F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u="sng" dirty="0">
                <a:solidFill>
                  <a:schemeClr val="tx1"/>
                </a:solidFill>
              </a:rPr>
              <a:t>Дефицит бюджета </a:t>
            </a:r>
            <a:r>
              <a:rPr lang="ru-RU" sz="1600" b="1" dirty="0">
                <a:solidFill>
                  <a:schemeClr val="tx1"/>
                </a:solidFill>
              </a:rPr>
              <a:t>– превышение расходов бюджета над его доходам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5786438" y="5857875"/>
            <a:ext cx="3000375" cy="928688"/>
          </a:xfrm>
          <a:prstGeom prst="roundRect">
            <a:avLst/>
          </a:prstGeom>
          <a:solidFill>
            <a:srgbClr val="F9A1F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u="sng" dirty="0">
                <a:solidFill>
                  <a:schemeClr val="tx1"/>
                </a:solidFill>
              </a:rPr>
              <a:t>Профицит бюджета</a:t>
            </a:r>
            <a:r>
              <a:rPr lang="ru-RU" sz="1600" b="1" dirty="0">
                <a:solidFill>
                  <a:schemeClr val="tx1"/>
                </a:solidFill>
              </a:rPr>
              <a:t> – превышение доходов бюджета над его расходам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0" name="Рисунок 13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071813" y="4849813"/>
            <a:ext cx="1571625" cy="865187"/>
          </a:xfrm>
          <a:prstGeom prst="rect">
            <a:avLst/>
          </a:prstGeom>
          <a:gradFill rotWithShape="1">
            <a:gsLst>
              <a:gs pos="0">
                <a:srgbClr val="9966FF"/>
              </a:gs>
              <a:gs pos="100000">
                <a:srgbClr val="FFFFFF"/>
              </a:gs>
            </a:gsLst>
            <a:lin ang="5400000" scaled="1"/>
          </a:gradFill>
          <a:ln w="12700" algn="ctr">
            <a:solidFill>
              <a:srgbClr val="FF00FF"/>
            </a:solidFill>
            <a:miter lim="800000"/>
            <a:headEnd/>
            <a:tailEnd/>
          </a:ln>
        </p:spPr>
      </p:pic>
      <p:pic>
        <p:nvPicPr>
          <p:cNvPr id="21" name="Рисунок 7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71500" y="4811713"/>
            <a:ext cx="1571625" cy="903287"/>
          </a:xfrm>
          <a:prstGeom prst="rect">
            <a:avLst/>
          </a:prstGeom>
          <a:gradFill rotWithShape="1">
            <a:gsLst>
              <a:gs pos="0">
                <a:srgbClr val="9966FF"/>
              </a:gs>
              <a:gs pos="100000">
                <a:srgbClr val="FFFFFF"/>
              </a:gs>
            </a:gsLst>
            <a:lin ang="5400000" scaled="1"/>
          </a:gradFill>
          <a:ln w="12700" algn="ctr">
            <a:solidFill>
              <a:srgbClr val="FF00FF"/>
            </a:solidFill>
            <a:miter lim="800000"/>
            <a:headEnd/>
            <a:tailEnd/>
          </a:ln>
        </p:spPr>
      </p:pic>
      <p:pic>
        <p:nvPicPr>
          <p:cNvPr id="23" name="Рисунок 13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71500" y="5857875"/>
            <a:ext cx="1571625" cy="857250"/>
          </a:xfrm>
          <a:prstGeom prst="rect">
            <a:avLst/>
          </a:prstGeom>
          <a:gradFill rotWithShape="1">
            <a:gsLst>
              <a:gs pos="0">
                <a:srgbClr val="9966FF"/>
              </a:gs>
              <a:gs pos="100000">
                <a:srgbClr val="FFFFFF"/>
              </a:gs>
            </a:gsLst>
            <a:lin ang="5400000" scaled="1"/>
          </a:gradFill>
          <a:ln w="12700" algn="ctr">
            <a:solidFill>
              <a:srgbClr val="FF00FF"/>
            </a:solidFill>
            <a:miter lim="800000"/>
            <a:headEnd/>
            <a:tailEnd/>
          </a:ln>
        </p:spPr>
      </p:pic>
      <p:pic>
        <p:nvPicPr>
          <p:cNvPr id="24" name="Рисунок 7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071813" y="5849938"/>
            <a:ext cx="1571625" cy="903287"/>
          </a:xfrm>
          <a:prstGeom prst="rect">
            <a:avLst/>
          </a:prstGeom>
          <a:gradFill rotWithShape="1">
            <a:gsLst>
              <a:gs pos="0">
                <a:srgbClr val="9966FF"/>
              </a:gs>
              <a:gs pos="100000">
                <a:srgbClr val="FFFFFF"/>
              </a:gs>
            </a:gsLst>
            <a:lin ang="5400000" scaled="1"/>
          </a:gradFill>
          <a:ln w="12700" algn="ctr">
            <a:solidFill>
              <a:srgbClr val="FF00FF"/>
            </a:solidFill>
            <a:miter lim="800000"/>
            <a:headEnd/>
            <a:tailEnd/>
          </a:ln>
        </p:spPr>
      </p:pic>
      <p:sp>
        <p:nvSpPr>
          <p:cNvPr id="29710" name="Прямоугольник 27"/>
          <p:cNvSpPr>
            <a:spLocks noChangeArrowheads="1"/>
          </p:cNvSpPr>
          <p:nvPr/>
        </p:nvSpPr>
        <p:spPr bwMode="auto">
          <a:xfrm>
            <a:off x="4857750" y="4643438"/>
            <a:ext cx="714375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87313" lvl="1">
              <a:tabLst>
                <a:tab pos="6719888" algn="l"/>
                <a:tab pos="6908800" algn="l"/>
              </a:tabLst>
            </a:pPr>
            <a:r>
              <a:rPr lang="ru-RU" sz="7200" b="1">
                <a:cs typeface="Times New Roman" pitchFamily="18" charset="0"/>
              </a:rPr>
              <a:t>=</a:t>
            </a:r>
          </a:p>
        </p:txBody>
      </p:sp>
      <p:sp>
        <p:nvSpPr>
          <p:cNvPr id="29711" name="Прямоугольник 28"/>
          <p:cNvSpPr>
            <a:spLocks noChangeArrowheads="1"/>
          </p:cNvSpPr>
          <p:nvPr/>
        </p:nvSpPr>
        <p:spPr bwMode="auto">
          <a:xfrm>
            <a:off x="4857750" y="5643563"/>
            <a:ext cx="714375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87313" lvl="1">
              <a:tabLst>
                <a:tab pos="6719888" algn="l"/>
                <a:tab pos="6908800" algn="l"/>
              </a:tabLst>
            </a:pPr>
            <a:r>
              <a:rPr lang="ru-RU" sz="7200" b="1">
                <a:cs typeface="Times New Roman" pitchFamily="18" charset="0"/>
              </a:rPr>
              <a:t>=</a:t>
            </a:r>
          </a:p>
        </p:txBody>
      </p:sp>
      <p:sp>
        <p:nvSpPr>
          <p:cNvPr id="29712" name="Прямоугольник 29"/>
          <p:cNvSpPr>
            <a:spLocks noChangeArrowheads="1"/>
          </p:cNvSpPr>
          <p:nvPr/>
        </p:nvSpPr>
        <p:spPr bwMode="auto">
          <a:xfrm>
            <a:off x="2286000" y="4500563"/>
            <a:ext cx="714375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87313" lvl="1">
              <a:tabLst>
                <a:tab pos="6719888" algn="l"/>
                <a:tab pos="6908800" algn="l"/>
              </a:tabLst>
            </a:pPr>
            <a:r>
              <a:rPr lang="ru-RU" sz="8000" b="1">
                <a:cs typeface="Times New Roman" pitchFamily="18" charset="0"/>
              </a:rPr>
              <a:t>-</a:t>
            </a:r>
          </a:p>
        </p:txBody>
      </p:sp>
      <p:pic>
        <p:nvPicPr>
          <p:cNvPr id="29713" name="Picture 24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82713" y="2357438"/>
            <a:ext cx="2332037" cy="1762125"/>
          </a:xfrm>
          <a:prstGeom prst="rect">
            <a:avLst/>
          </a:prstGeom>
          <a:noFill/>
          <a:ln w="57150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</p:pic>
      <p:pic>
        <p:nvPicPr>
          <p:cNvPr id="29714" name="Picture 25" descr="ÐÐ°ÑÑÐ¸Ð½ÐºÐ¸ Ð¿Ð¾ Ð·Ð°Ð¿ÑÐ¾ÑÑ ÐºÐ°ÑÑÐ¸Ð½ÐºÐ¸ Ð¿Ð¾Ð»ÑÑÐµÐ½Ð¸Ðµ Ð´ÐµÐ½ÐµÐ³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072063" y="2357438"/>
            <a:ext cx="3200400" cy="1568450"/>
          </a:xfrm>
          <a:prstGeom prst="rect">
            <a:avLst/>
          </a:prstGeom>
          <a:noFill/>
          <a:ln w="57150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10" name="Скругленный прямоугольник 9"/>
          <p:cNvSpPr/>
          <p:nvPr/>
        </p:nvSpPr>
        <p:spPr>
          <a:xfrm>
            <a:off x="642938" y="1714500"/>
            <a:ext cx="3857625" cy="785813"/>
          </a:xfrm>
          <a:prstGeom prst="roundRect">
            <a:avLst/>
          </a:prstGeom>
          <a:solidFill>
            <a:srgbClr val="B2FC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u="sng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поступающие в бюджет денежные средства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2143125" y="3857625"/>
            <a:ext cx="4929188" cy="390525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8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зультат исполнения бюджета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786313" y="1714500"/>
            <a:ext cx="3857625" cy="785813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u="sng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выплачиваемые из бюджета денежные средства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2000250" y="4286250"/>
            <a:ext cx="1133475" cy="428625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dirty="0">
                <a:solidFill>
                  <a:schemeClr val="tx1"/>
                </a:solidFill>
                <a:cs typeface="Times New Roman" pitchFamily="18" charset="0"/>
              </a:rPr>
              <a:t>«минус»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719" name="Прямоугольник 29"/>
          <p:cNvSpPr>
            <a:spLocks noChangeArrowheads="1"/>
          </p:cNvSpPr>
          <p:nvPr/>
        </p:nvSpPr>
        <p:spPr bwMode="auto">
          <a:xfrm>
            <a:off x="2286000" y="5534025"/>
            <a:ext cx="714375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87313" lvl="1">
              <a:tabLst>
                <a:tab pos="6719888" algn="l"/>
                <a:tab pos="6908800" algn="l"/>
              </a:tabLst>
            </a:pPr>
            <a:r>
              <a:rPr lang="ru-RU" sz="8000" b="1">
                <a:cs typeface="Times New Roman" pitchFamily="18" charset="0"/>
              </a:rPr>
              <a:t>-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9220" name="Text Box 7"/>
          <p:cNvSpPr txBox="1">
            <a:spLocks noChangeArrowheads="1"/>
          </p:cNvSpPr>
          <p:nvPr/>
        </p:nvSpPr>
        <p:spPr bwMode="auto">
          <a:xfrm>
            <a:off x="6643702" y="2428868"/>
            <a:ext cx="1293813" cy="2769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800" b="1" i="1" dirty="0"/>
              <a:t>тыс. рублей</a:t>
            </a:r>
          </a:p>
        </p:txBody>
      </p:sp>
      <p:pic>
        <p:nvPicPr>
          <p:cNvPr id="9222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714480" y="285728"/>
            <a:ext cx="6929486" cy="928694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на Образование в расчете на 1 жител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9221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57158" y="1571612"/>
            <a:ext cx="3839296" cy="3133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aphicFrame>
        <p:nvGraphicFramePr>
          <p:cNvPr id="9218" name="Object 3"/>
          <p:cNvGraphicFramePr>
            <a:graphicFrameLocks noGrp="1" noChangeAspect="1"/>
          </p:cNvGraphicFramePr>
          <p:nvPr/>
        </p:nvGraphicFramePr>
        <p:xfrm>
          <a:off x="1008063" y="3006726"/>
          <a:ext cx="6992961" cy="2452616"/>
        </p:xfrm>
        <a:graphic>
          <a:graphicData uri="http://schemas.openxmlformats.org/presentationml/2006/ole">
            <p:oleObj spid="_x0000_s9218" name="Worksheet" r:id="rId6" imgW="4857856" imgH="1714618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8131" name="Rectangle 2"/>
          <p:cNvSpPr>
            <a:spLocks noChangeArrowheads="1"/>
          </p:cNvSpPr>
          <p:nvPr/>
        </p:nvSpPr>
        <p:spPr bwMode="auto">
          <a:xfrm>
            <a:off x="642910" y="1071563"/>
            <a:ext cx="5286412" cy="13573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b="1" dirty="0"/>
              <a:t>В городе-курорте Железноводске Ставропольского края действует 14 дошкольных образовательных учреждений - детских садов, в которых обучается 2 </a:t>
            </a:r>
            <a:r>
              <a:rPr lang="ru-RU" sz="1400" b="1" dirty="0" smtClean="0"/>
              <a:t>611 </a:t>
            </a:r>
            <a:r>
              <a:rPr lang="ru-RU" sz="1400" b="1" dirty="0"/>
              <a:t>детей.</a:t>
            </a: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/>
        </p:nvGraphicFramePr>
        <p:xfrm>
          <a:off x="428596" y="3643314"/>
          <a:ext cx="8286750" cy="2857517"/>
        </p:xfrm>
        <a:graphic>
          <a:graphicData uri="http://schemas.openxmlformats.org/drawingml/2006/table">
            <a:tbl>
              <a:tblPr/>
              <a:tblGrid>
                <a:gridCol w="1809750"/>
                <a:gridCol w="879475"/>
                <a:gridCol w="811213"/>
                <a:gridCol w="928687"/>
                <a:gridCol w="1357313"/>
                <a:gridCol w="1274762"/>
                <a:gridCol w="1225550"/>
              </a:tblGrid>
              <a:tr h="8746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реждений общего и дополнительного образования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 учащихся учреждений общего и дополнительного образования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560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rgbClr val="212121"/>
                        </a:solidFill>
                        <a:effectLst/>
                        <a:latin typeface="RobotoLigh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6/2017 учебный г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7/2018 учебный г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8/2019 учебный г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6/2017 учебный г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7/2018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чебный г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8/2019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чебный г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</a:tr>
              <a:tr h="43734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еобразовательные школ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 749 чел.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 870 чел.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 986 чел.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</a:tr>
              <a:tr h="65601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чреждения дополнительного образован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 392 чел.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 360 чел.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420 чел.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</a:tr>
              <a:tr h="23347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СЕГО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 141 чел.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 230 чел.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 406 чел.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</a:tr>
            </a:tbl>
          </a:graphicData>
        </a:graphic>
      </p:graphicFrame>
      <p:pic>
        <p:nvPicPr>
          <p:cNvPr id="4817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857356" y="214290"/>
            <a:ext cx="6357982" cy="571504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Дошкольное образование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500166" y="2786058"/>
            <a:ext cx="6357982" cy="571504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Общее и дополнительное образование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9" name="Рисунок 8" descr="Ð¢ÑÐ¸ Ð¾ÑÐ½Ð¾Ð²Ð½ÑÐµ Ð¾ÑÐ¸Ð±ÐºÐ¸, ÐºÐ¾ÑÐ¾ÑÑÐµ ÑÐ¾Ð´Ð¸ÑÐµÐ»Ð¸ ÑÐ¾Ð²ÐµÑÑÐ°ÑÑ Ð²Ð¾ Ð²ÑÐµÐ¼Ñ Ð°Ð´Ð°Ð¿ÑÐ°ÑÐ¸Ð¾Ð½Ð½Ð¾Ð³Ð¾ Ð¿ÐµÑÐ¸Ð¾Ð´Ð° Ð´ÐµÑÐµÐ¹ Ð² Ð´ÐµÑÑÐºÐ¾Ð¼ ÑÐ°Ð´Ñ (Ð§Ð°ÑÑÑ 2)"/>
          <p:cNvPicPr/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04107" y="928670"/>
            <a:ext cx="2939893" cy="17650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9155" name="Rectangle 2"/>
          <p:cNvSpPr>
            <a:spLocks noChangeArrowheads="1"/>
          </p:cNvSpPr>
          <p:nvPr/>
        </p:nvSpPr>
        <p:spPr bwMode="auto">
          <a:xfrm>
            <a:off x="285750" y="1428750"/>
            <a:ext cx="8572500" cy="71436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/>
            <a:r>
              <a:rPr lang="ru-RU" sz="1400" b="1" dirty="0">
                <a:solidFill>
                  <a:schemeClr val="bg1"/>
                </a:solidFill>
              </a:rPr>
              <a:t>Сеть отрасли культуры и кинематографии в городе-курорте Железноводске Ставропольского края составляют 3 муниципальных учреждения, в том числе: библиотека, Пушкинская галерея, Городской Дворец культуры. </a:t>
            </a: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/>
        </p:nvGraphicFramePr>
        <p:xfrm>
          <a:off x="500034" y="3571876"/>
          <a:ext cx="8143875" cy="2867343"/>
        </p:xfrm>
        <a:graphic>
          <a:graphicData uri="http://schemas.openxmlformats.org/drawingml/2006/table">
            <a:tbl>
              <a:tblPr/>
              <a:tblGrid>
                <a:gridCol w="858838"/>
                <a:gridCol w="1998662"/>
                <a:gridCol w="1143000"/>
                <a:gridCol w="1152525"/>
                <a:gridCol w="990600"/>
                <a:gridCol w="1000125"/>
                <a:gridCol w="1000125"/>
              </a:tblGrid>
              <a:tr h="4953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тыс. рублей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1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7 (фа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8 (оценка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 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ультура, кинематограф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2 032,24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5 547,15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 115,5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1 213,04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 908,22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 01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ультура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6 828,55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0 137,94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 464,14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 092,93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5 821,8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8 04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культуры, кинематографии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203,69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409,2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 651 ,36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086,42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086,42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38000">
                          <a:srgbClr val="729459">
                            <a:alpha val="7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</a:tr>
            </a:tbl>
          </a:graphicData>
        </a:graphic>
      </p:graphicFrame>
      <p:sp>
        <p:nvSpPr>
          <p:cNvPr id="49157" name="Rectangle 1"/>
          <p:cNvSpPr>
            <a:spLocks noChangeArrowheads="1"/>
          </p:cNvSpPr>
          <p:nvPr/>
        </p:nvSpPr>
        <p:spPr bwMode="auto">
          <a:xfrm>
            <a:off x="1714480" y="2643182"/>
            <a:ext cx="5697538" cy="33813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cs typeface="Times New Roman" pitchFamily="18" charset="0"/>
              </a:rPr>
              <a:t>Структура расходов бюджета по культуре в </a:t>
            </a:r>
            <a:r>
              <a:rPr lang="ru-RU" sz="1600" b="1" dirty="0" smtClean="0">
                <a:solidFill>
                  <a:schemeClr val="bg1"/>
                </a:solidFill>
                <a:cs typeface="Times New Roman" pitchFamily="18" charset="0"/>
              </a:rPr>
              <a:t>2017-2021 </a:t>
            </a:r>
            <a:r>
              <a:rPr lang="ru-RU" sz="1600" b="1" dirty="0">
                <a:solidFill>
                  <a:schemeClr val="bg1"/>
                </a:solidFill>
                <a:cs typeface="Times New Roman" pitchFamily="18" charset="0"/>
              </a:rPr>
              <a:t>годах</a:t>
            </a:r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4915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714480" y="214290"/>
            <a:ext cx="6357982" cy="571504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Культура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10245" name="Text Box 7"/>
          <p:cNvSpPr txBox="1">
            <a:spLocks noChangeArrowheads="1"/>
          </p:cNvSpPr>
          <p:nvPr/>
        </p:nvSpPr>
        <p:spPr bwMode="auto">
          <a:xfrm>
            <a:off x="4500562" y="3143248"/>
            <a:ext cx="1293813" cy="244475"/>
          </a:xfrm>
          <a:prstGeom prst="rect">
            <a:avLst/>
          </a:prstGeom>
          <a:solidFill>
            <a:schemeClr val="bg1">
              <a:alpha val="49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  <p:graphicFrame>
        <p:nvGraphicFramePr>
          <p:cNvPr id="10242" name="Object 12"/>
          <p:cNvGraphicFramePr>
            <a:graphicFrameLocks noGrp="1" noChangeAspect="1"/>
          </p:cNvGraphicFramePr>
          <p:nvPr/>
        </p:nvGraphicFramePr>
        <p:xfrm>
          <a:off x="-785850" y="2470331"/>
          <a:ext cx="7377135" cy="4387669"/>
        </p:xfrm>
        <a:graphic>
          <a:graphicData uri="http://schemas.openxmlformats.org/presentationml/2006/ole">
            <p:oleObj spid="_x0000_s10242" name="Worksheet" r:id="rId4" imgW="6010234" imgH="3267006" progId="Excel.Sheet.8">
              <p:embed/>
            </p:oleObj>
          </a:graphicData>
        </a:graphic>
      </p:graphicFrame>
      <p:sp>
        <p:nvSpPr>
          <p:cNvPr id="10246" name="Rectangle 2"/>
          <p:cNvSpPr>
            <a:spLocks noChangeArrowheads="1"/>
          </p:cNvSpPr>
          <p:nvPr/>
        </p:nvSpPr>
        <p:spPr bwMode="auto">
          <a:xfrm>
            <a:off x="357188" y="1142984"/>
            <a:ext cx="8572500" cy="785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/>
            <a:r>
              <a:rPr lang="ru-RU" sz="1400" b="1" dirty="0"/>
              <a:t>Увеличение </a:t>
            </a:r>
            <a:r>
              <a:rPr lang="ru-RU" sz="1400" b="1" dirty="0" smtClean="0"/>
              <a:t>расходов по отрасли </a:t>
            </a:r>
            <a:r>
              <a:rPr lang="ru-RU" sz="1400" b="1" dirty="0"/>
              <a:t>в </a:t>
            </a:r>
            <a:r>
              <a:rPr lang="ru-RU" sz="1400" b="1" dirty="0" smtClean="0"/>
              <a:t>2018 </a:t>
            </a:r>
            <a:r>
              <a:rPr lang="ru-RU" sz="1400" b="1" dirty="0"/>
              <a:t>году обусловлено выделением средств на </a:t>
            </a:r>
            <a:r>
              <a:rPr lang="ru-RU" sz="1400" b="1" dirty="0" smtClean="0"/>
              <a:t>капитальный ремонт и укрепление материально-технической базы муниципального учреждения Городской Дворец культуры города-курорта Железноводска.</a:t>
            </a:r>
            <a:endParaRPr lang="ru-RU" sz="1400" b="1" dirty="0"/>
          </a:p>
        </p:txBody>
      </p:sp>
      <p:pic>
        <p:nvPicPr>
          <p:cNvPr id="1024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714480" y="214290"/>
            <a:ext cx="6357982" cy="571504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Культура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9" name="Рисунок 8" descr="http://zh-gdk.stv.muzkult.ru/img/upload/2784/image_image_4600631.jpg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143636" y="5143512"/>
            <a:ext cx="3000364" cy="1714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0" descr="http://zh-gdk.stv.muzkult.ru/img/upload/2784/image_image_4600627.JPG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009610" y="1857364"/>
            <a:ext cx="3134390" cy="2089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11268" name="Text Box 7"/>
          <p:cNvSpPr txBox="1">
            <a:spLocks noChangeArrowheads="1"/>
          </p:cNvSpPr>
          <p:nvPr/>
        </p:nvSpPr>
        <p:spPr bwMode="auto">
          <a:xfrm>
            <a:off x="7429500" y="2000250"/>
            <a:ext cx="1293813" cy="276999"/>
          </a:xfrm>
          <a:prstGeom prst="rect">
            <a:avLst/>
          </a:prstGeom>
          <a:solidFill>
            <a:schemeClr val="bg1">
              <a:alpha val="48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800" b="1" i="1" dirty="0"/>
              <a:t>рублей</a:t>
            </a:r>
          </a:p>
        </p:txBody>
      </p:sp>
      <p:pic>
        <p:nvPicPr>
          <p:cNvPr id="11270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267" name="Object 3"/>
          <p:cNvGraphicFramePr>
            <a:graphicFrameLocks noGrp="1" noChangeAspect="1"/>
          </p:cNvGraphicFramePr>
          <p:nvPr/>
        </p:nvGraphicFramePr>
        <p:xfrm>
          <a:off x="500034" y="2428868"/>
          <a:ext cx="7686675" cy="2990850"/>
        </p:xfrm>
        <a:graphic>
          <a:graphicData uri="http://schemas.openxmlformats.org/presentationml/2006/ole">
            <p:oleObj spid="_x0000_s11267" name="Worksheet" r:id="rId5" imgW="6248321" imgH="2276350" progId="Excel.Sheet.8">
              <p:embed/>
            </p:oleObj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714480" y="285728"/>
            <a:ext cx="6929486" cy="785818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на Культуру в расчете на 1 жител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9" name="Рисунок 8" descr="ÐÐ²Ð¾ÑÐµÑ ÐÑÐ»ÑÑÑÑÑ ÐÐµÐ»ÐµÐ·Ð½Ð¾Ð²Ð¾Ð´ÑÐº"/>
          <p:cNvPicPr/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142976" y="5357826"/>
            <a:ext cx="6786610" cy="1357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428596" y="1857364"/>
          <a:ext cx="8143875" cy="3515951"/>
        </p:xfrm>
        <a:graphic>
          <a:graphicData uri="http://schemas.openxmlformats.org/drawingml/2006/table">
            <a:tbl>
              <a:tblPr/>
              <a:tblGrid>
                <a:gridCol w="858838"/>
                <a:gridCol w="1998662"/>
                <a:gridCol w="1143000"/>
                <a:gridCol w="1152525"/>
                <a:gridCol w="990600"/>
                <a:gridCol w="1000125"/>
                <a:gridCol w="1000125"/>
              </a:tblGrid>
              <a:tr h="54716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тыс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1899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7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фа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8 (оценка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</a:tr>
              <a:tr h="3483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0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циальная политика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7 224,76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2 058,1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8 986,15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2 151,35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3 209,77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</a:tr>
              <a:tr h="54716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3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циальное обеспечение населения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4 723,35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8 088,94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4 081,04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4 835,53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2 737,93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</a:tr>
              <a:tr h="54716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4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храна семьи и детства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9 132,37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9 823,7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0 900,6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3 341,2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6 487,78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</a:tr>
              <a:tr h="70710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 06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социальной политики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 369,04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 145,46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 004,5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 974,6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 984,05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729459"/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lin ang="10800000" scaled="1"/>
                    </a:gradFill>
                  </a:tcPr>
                </a:tc>
              </a:tr>
            </a:tbl>
          </a:graphicData>
        </a:graphic>
      </p:graphicFrame>
      <p:sp>
        <p:nvSpPr>
          <p:cNvPr id="50229" name="Rectangle 1"/>
          <p:cNvSpPr>
            <a:spLocks noChangeArrowheads="1"/>
          </p:cNvSpPr>
          <p:nvPr/>
        </p:nvSpPr>
        <p:spPr bwMode="auto">
          <a:xfrm>
            <a:off x="857224" y="1214422"/>
            <a:ext cx="7548563" cy="33813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  <a:cs typeface="Times New Roman" pitchFamily="18" charset="0"/>
              </a:rPr>
              <a:t>Структура расходов бюджета города по социальной политике в </a:t>
            </a:r>
            <a:r>
              <a:rPr lang="ru-RU" sz="1600" b="1" dirty="0" smtClean="0">
                <a:solidFill>
                  <a:schemeClr val="bg1"/>
                </a:solidFill>
                <a:cs typeface="Times New Roman" pitchFamily="18" charset="0"/>
              </a:rPr>
              <a:t>2017-2021 </a:t>
            </a:r>
            <a:r>
              <a:rPr lang="ru-RU" sz="1600" b="1" dirty="0">
                <a:solidFill>
                  <a:schemeClr val="bg1"/>
                </a:solidFill>
                <a:cs typeface="Times New Roman" pitchFamily="18" charset="0"/>
              </a:rPr>
              <a:t>годах</a:t>
            </a:r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50230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714480" y="357166"/>
            <a:ext cx="6357982" cy="571504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Социальная политика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" name="Рисунок 7" descr="ÐÐ°ÐºÐµÑ Ð·Ð°ÐºÐ¾Ð½Ð¾Ð´Ð°ÑÐµÐ»ÑÐ½ÑÑ Ð¿ÑÐµÐ´Ð»Ð¾Ð¶ÐµÐ½Ð¸Ð¹ â  ÐÐ»ÑÑÐµÑÐ½Ð°ÑÐ¸Ð²Ð° ÐÐµÐºÑÐµÑÑ Ð¿ÑÐµÐ·Ð¸Ð´ÐµÐ½ÑÐ° â3  Â«Ð Ð¿ÑÐµÐ´ÑÐ¿ÑÐµÐ¶Ð´ÐµÐ½Ð¸Ð¸ ÑÐ¾ÑÐ¸Ð°Ð»ÑÐ½Ð¾Ð³Ð¾ Ð¸Ð¶Ð´Ð¸Ð²ÐµÐ½ÑÐµÑÑÐ²Ð°Â» Ð¾Ñ 02.04.2015Ð³."/>
          <p:cNvPicPr/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00760" y="5401631"/>
            <a:ext cx="3143240" cy="1456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graphicFrame>
        <p:nvGraphicFramePr>
          <p:cNvPr id="12290" name="Object 12"/>
          <p:cNvGraphicFramePr>
            <a:graphicFrameLocks noGrp="1" noChangeAspect="1"/>
          </p:cNvGraphicFramePr>
          <p:nvPr/>
        </p:nvGraphicFramePr>
        <p:xfrm>
          <a:off x="0" y="2578100"/>
          <a:ext cx="6146800" cy="4114800"/>
        </p:xfrm>
        <a:graphic>
          <a:graphicData uri="http://schemas.openxmlformats.org/presentationml/2006/ole">
            <p:oleObj spid="_x0000_s12290" name="Worksheet" r:id="rId4" imgW="4952875" imgH="3314784" progId="Excel.Sheet.8">
              <p:embed/>
            </p:oleObj>
          </a:graphicData>
        </a:graphic>
      </p:graphicFrame>
      <p:sp>
        <p:nvSpPr>
          <p:cNvPr id="12293" name="Text Box 7"/>
          <p:cNvSpPr txBox="1">
            <a:spLocks noChangeArrowheads="1"/>
          </p:cNvSpPr>
          <p:nvPr/>
        </p:nvSpPr>
        <p:spPr bwMode="auto">
          <a:xfrm>
            <a:off x="4500562" y="2500306"/>
            <a:ext cx="1293812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  <p:sp>
        <p:nvSpPr>
          <p:cNvPr id="12294" name="Rectangle 2"/>
          <p:cNvSpPr>
            <a:spLocks noChangeArrowheads="1"/>
          </p:cNvSpPr>
          <p:nvPr/>
        </p:nvSpPr>
        <p:spPr bwMode="auto">
          <a:xfrm>
            <a:off x="214282" y="1000108"/>
            <a:ext cx="8715406" cy="128588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1076325" algn="just"/>
            <a:r>
              <a:rPr lang="ru-RU" sz="1400" b="1" dirty="0"/>
              <a:t>Уменьшение расходов на социальную политику в </a:t>
            </a:r>
            <a:r>
              <a:rPr lang="ru-RU" sz="1400" b="1" dirty="0" smtClean="0"/>
              <a:t>2018-м </a:t>
            </a:r>
            <a:r>
              <a:rPr lang="ru-RU" sz="1400" b="1" dirty="0"/>
              <a:t>году обусловлено снижением объема поступающих средств из федерального, краевого и местного бюджетов на обеспечение жильем молодых семей, на оплату </a:t>
            </a:r>
            <a:r>
              <a:rPr lang="ru-RU" sz="1400" b="1" dirty="0" smtClean="0"/>
              <a:t>жилищно-куммунальных </a:t>
            </a:r>
            <a:r>
              <a:rPr lang="ru-RU" sz="1400" b="1" dirty="0"/>
              <a:t>услуг отдельным категориям граждан, на социальную поддержку ветеранов труда и тружеников тыла, на пособия семьям, имеющим детей-инвалидов, на выплату пособий на ребенка, а также исключением субсидий предприятиям, предоставляющим бесплатно хлеб и молоко отдельным категориям граждан.</a:t>
            </a:r>
          </a:p>
        </p:txBody>
      </p:sp>
      <p:sp>
        <p:nvSpPr>
          <p:cNvPr id="12295" name="Rectangle 2"/>
          <p:cNvSpPr>
            <a:spLocks noChangeArrowheads="1"/>
          </p:cNvSpPr>
          <p:nvPr/>
        </p:nvSpPr>
        <p:spPr bwMode="auto">
          <a:xfrm>
            <a:off x="6072198" y="2285992"/>
            <a:ext cx="2786062" cy="41433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b="1" dirty="0"/>
              <a:t>Увеличение расходов в </a:t>
            </a:r>
            <a:r>
              <a:rPr lang="ru-RU" sz="1400" b="1" dirty="0" smtClean="0"/>
              <a:t>2019-2021-х </a:t>
            </a:r>
            <a:r>
              <a:rPr lang="ru-RU" sz="1400" b="1" dirty="0"/>
              <a:t>годах обусловлено увеличением запланированных краевых средств на оплату жилищно-куммунальных услуг отдельным категориям граждан, на социальную поддержку ветеранов Ставропольского края, на денежную выплату лицам, награжденным нагрудным знаком  «Почетный донор России», на оплату жилого помещения и коммунальных услуг, на выплаты на случай временной нетрудоспособности и в связи с материнством, на компенсации многодетным семьям на ребенка до 18 лет.</a:t>
            </a:r>
          </a:p>
        </p:txBody>
      </p:sp>
      <p:pic>
        <p:nvPicPr>
          <p:cNvPr id="1229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571604" y="142852"/>
            <a:ext cx="6357982" cy="571504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Социальная политика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13316" name="Text Box 7"/>
          <p:cNvSpPr txBox="1">
            <a:spLocks noChangeArrowheads="1"/>
          </p:cNvSpPr>
          <p:nvPr/>
        </p:nvSpPr>
        <p:spPr bwMode="auto">
          <a:xfrm>
            <a:off x="7072313" y="1714488"/>
            <a:ext cx="129381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тыс. </a:t>
            </a:r>
            <a:r>
              <a:rPr lang="ru-RU" sz="1800" b="1" i="1" dirty="0"/>
              <a:t>рублей</a:t>
            </a:r>
          </a:p>
        </p:txBody>
      </p:sp>
      <p:pic>
        <p:nvPicPr>
          <p:cNvPr id="1331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500166" y="285728"/>
            <a:ext cx="6929486" cy="857256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на Социальную политику в расчете на 1 жител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2" name="Object 3"/>
          <p:cNvGraphicFramePr>
            <a:graphicFrameLocks noGrp="1" noChangeAspect="1"/>
          </p:cNvGraphicFramePr>
          <p:nvPr/>
        </p:nvGraphicFramePr>
        <p:xfrm>
          <a:off x="571500" y="2146300"/>
          <a:ext cx="7632700" cy="2654300"/>
        </p:xfrm>
        <a:graphic>
          <a:graphicData uri="http://schemas.openxmlformats.org/presentationml/2006/ole">
            <p:oleObj spid="_x0000_s13316" name="Worksheet" r:id="rId5" imgW="6153032" imgH="2143003" progId="Excel.Sheet.8">
              <p:embed/>
            </p:oleObj>
          </a:graphicData>
        </a:graphic>
      </p:graphicFrame>
      <p:pic>
        <p:nvPicPr>
          <p:cNvPr id="9" name="Рисунок 8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214546" y="5214950"/>
            <a:ext cx="4857784" cy="1643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14282" y="3441398"/>
          <a:ext cx="8643938" cy="2845122"/>
        </p:xfrm>
        <a:graphic>
          <a:graphicData uri="http://schemas.openxmlformats.org/drawingml/2006/table">
            <a:tbl>
              <a:tblPr/>
              <a:tblGrid>
                <a:gridCol w="2857500"/>
                <a:gridCol w="1071563"/>
                <a:gridCol w="857250"/>
                <a:gridCol w="1000125"/>
                <a:gridCol w="857250"/>
                <a:gridCol w="1071562"/>
                <a:gridCol w="928688"/>
              </a:tblGrid>
              <a:tr h="94655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52769A"/>
                        </a:gs>
                        <a:gs pos="50000">
                          <a:srgbClr val="79ABDD"/>
                        </a:gs>
                        <a:gs pos="100000">
                          <a:srgbClr val="91CCFF"/>
                        </a:gs>
                      </a:gsLst>
                      <a:lin ang="10800000" scaled="1"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52769A"/>
                        </a:gs>
                        <a:gs pos="50000">
                          <a:srgbClr val="79ABDD"/>
                        </a:gs>
                        <a:gs pos="100000">
                          <a:srgbClr val="91CCFF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52769A"/>
                        </a:gs>
                        <a:gs pos="50000">
                          <a:srgbClr val="79ABDD"/>
                        </a:gs>
                        <a:gs pos="100000">
                          <a:srgbClr val="91CCFF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52769A"/>
                        </a:gs>
                        <a:gs pos="50000">
                          <a:srgbClr val="79ABDD"/>
                        </a:gs>
                        <a:gs pos="100000">
                          <a:srgbClr val="91CCFF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919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52769A"/>
                        </a:gs>
                        <a:gs pos="50000">
                          <a:srgbClr val="79ABDD"/>
                        </a:gs>
                        <a:gs pos="100000">
                          <a:srgbClr val="91CCFF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 тыс.руб.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52769A"/>
                        </a:gs>
                        <a:gs pos="50000">
                          <a:srgbClr val="79ABDD"/>
                        </a:gs>
                        <a:gs pos="100000">
                          <a:srgbClr val="91CCFF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52769A"/>
                        </a:gs>
                        <a:gs pos="50000">
                          <a:srgbClr val="79ABDD"/>
                        </a:gs>
                        <a:gs pos="100000">
                          <a:srgbClr val="91CCFF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руб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52769A"/>
                        </a:gs>
                        <a:gs pos="50000">
                          <a:srgbClr val="79ABDD"/>
                        </a:gs>
                        <a:gs pos="100000">
                          <a:srgbClr val="91CCFF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52769A"/>
                        </a:gs>
                        <a:gs pos="50000">
                          <a:srgbClr val="79ABDD"/>
                        </a:gs>
                        <a:gs pos="100000">
                          <a:srgbClr val="91CCFF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расходов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52769A"/>
                        </a:gs>
                        <a:gs pos="50000">
                          <a:srgbClr val="79ABDD"/>
                        </a:gs>
                        <a:gs pos="100000">
                          <a:srgbClr val="91CCFF"/>
                        </a:gs>
                      </a:gsLst>
                      <a:lin ang="10800000" scaled="1"/>
                    </a:gradFill>
                  </a:tcPr>
                </a:tc>
              </a:tr>
              <a:tr h="1006622">
                <a:tc>
                  <a:txBody>
                    <a:bodyPr/>
                    <a:lstStyle/>
                    <a:p>
                      <a:pPr marL="0" marR="0" lvl="0" indent="449263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доплата к пенсии гражданам, ставшим инвалидами при исполнении служебных обязанностей в районах боевых действий;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52769A"/>
                        </a:gs>
                        <a:gs pos="50000">
                          <a:srgbClr val="79ABDD"/>
                        </a:gs>
                        <a:gs pos="100000">
                          <a:srgbClr val="91CCFF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769,36 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52769A"/>
                        </a:gs>
                        <a:gs pos="50000">
                          <a:srgbClr val="79ABDD"/>
                        </a:gs>
                        <a:gs pos="100000">
                          <a:srgbClr val="91CCFF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2 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52769A"/>
                        </a:gs>
                        <a:gs pos="50000">
                          <a:srgbClr val="79ABDD"/>
                        </a:gs>
                        <a:gs pos="100000">
                          <a:srgbClr val="91CCFF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769,36 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52769A"/>
                        </a:gs>
                        <a:gs pos="50000">
                          <a:srgbClr val="79ABDD"/>
                        </a:gs>
                        <a:gs pos="100000">
                          <a:srgbClr val="91CCFF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2 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52769A"/>
                        </a:gs>
                        <a:gs pos="50000">
                          <a:srgbClr val="79ABDD"/>
                        </a:gs>
                        <a:gs pos="100000">
                          <a:srgbClr val="91CCFF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769,36 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52769A"/>
                        </a:gs>
                        <a:gs pos="50000">
                          <a:srgbClr val="79ABDD"/>
                        </a:gs>
                        <a:gs pos="100000">
                          <a:srgbClr val="91CCFF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2 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52769A"/>
                        </a:gs>
                        <a:gs pos="50000">
                          <a:srgbClr val="79ABDD"/>
                        </a:gs>
                        <a:gs pos="100000">
                          <a:srgbClr val="91CCFF"/>
                        </a:gs>
                      </a:gsLst>
                      <a:lin ang="10800000" scaled="1"/>
                    </a:gradFill>
                  </a:tcPr>
                </a:tc>
              </a:tr>
            </a:tbl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57189" y="1571612"/>
            <a:ext cx="6500827" cy="928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/>
              <a:t>Поддержка инвалидов</a:t>
            </a:r>
          </a:p>
          <a:p>
            <a:pPr indent="444500">
              <a:defRPr/>
            </a:pPr>
            <a:r>
              <a:rPr lang="ru-RU" sz="1600" dirty="0"/>
              <a:t>На предоставление мер социальной поддержки, социальное обеспечение инвалидов в </a:t>
            </a:r>
            <a:r>
              <a:rPr lang="ru-RU" sz="1600" dirty="0" smtClean="0"/>
              <a:t>2019 </a:t>
            </a:r>
            <a:r>
              <a:rPr lang="ru-RU" sz="1600" dirty="0"/>
              <a:t>году и плановый период </a:t>
            </a:r>
            <a:r>
              <a:rPr lang="ru-RU" sz="1600" dirty="0" smtClean="0"/>
              <a:t>2020-2021 гг.</a:t>
            </a:r>
            <a:endParaRPr lang="ru-RU" sz="1600" dirty="0"/>
          </a:p>
        </p:txBody>
      </p:sp>
      <p:pic>
        <p:nvPicPr>
          <p:cNvPr id="51243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357290" y="142852"/>
            <a:ext cx="7072362" cy="1143008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Сведения о расходах с учетом интересов целевых групп в социально-культурной сфере города-курорта Железноводска Ставропольского края</a:t>
            </a:r>
            <a:endParaRPr lang="ru-RU" b="1" dirty="0">
              <a:solidFill>
                <a:schemeClr val="bg1"/>
              </a:solidFill>
            </a:endParaRPr>
          </a:p>
        </p:txBody>
      </p:sp>
      <p:pic>
        <p:nvPicPr>
          <p:cNvPr id="10" name="Рисунок 9" descr="https://school28sp.ru/wp-content/uploads/2016/03/petropavl_rda.nsf-docs-475011486BDAEB87C2257ACB00413AFD-file-invalid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86644" y="1357298"/>
            <a:ext cx="1857356" cy="1857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58" y="1071546"/>
            <a:ext cx="8429625" cy="714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dirty="0" smtClean="0"/>
              <a:t>На </a:t>
            </a:r>
            <a:r>
              <a:rPr lang="ru-RU" sz="1600" dirty="0"/>
              <a:t>предоставление мер социальной поддержки, социальное обеспечение отдельных категорий граждан ( ветеранов, пенсионеров и других категорий населения ) в </a:t>
            </a:r>
            <a:r>
              <a:rPr lang="ru-RU" sz="1600" dirty="0" smtClean="0"/>
              <a:t>2019 </a:t>
            </a:r>
            <a:r>
              <a:rPr lang="ru-RU" sz="1600" dirty="0"/>
              <a:t>году и плановый период </a:t>
            </a:r>
            <a:r>
              <a:rPr lang="ru-RU" sz="1600" dirty="0" smtClean="0"/>
              <a:t>2020-2021 годах.</a:t>
            </a:r>
            <a:endParaRPr lang="ru-RU" sz="140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428625" y="1866084"/>
          <a:ext cx="8358188" cy="4754880"/>
        </p:xfrm>
        <a:graphic>
          <a:graphicData uri="http://schemas.openxmlformats.org/drawingml/2006/table">
            <a:tbl>
              <a:tblPr/>
              <a:tblGrid>
                <a:gridCol w="2441575"/>
                <a:gridCol w="1536700"/>
                <a:gridCol w="922338"/>
                <a:gridCol w="922337"/>
                <a:gridCol w="844550"/>
                <a:gridCol w="846138"/>
                <a:gridCol w="844550"/>
              </a:tblGrid>
              <a:tr h="180214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9090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</a:tr>
              <a:tr h="356363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денежная выплат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</a:tr>
              <a:tr h="712726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етеранам труда и труженикам тыла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18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человек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1486,36 руб.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8364,38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7494,31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6624,24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</a:tr>
              <a:tr h="534544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етеранам труд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82 человек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 месяц 1486,36 руб.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579,45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042,93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561,96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</a:tr>
              <a:tr h="712726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еабилитированным лицам и лицам, признанным пострадавшими от политических репресси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2 человек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 месяц 1486,36 руб.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66,10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10,55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55,03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</a:tr>
              <a:tr h="534544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емьям погибших ветеранов боевых действи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 месяц 769,36 руб.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6,66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6,66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6,66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</a:tr>
              <a:tr h="712726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осударственная социальная помощь малоимущим семьям и малоимущим одиноко проживающим гражданам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8 человек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273050" marR="0" lvl="0" indent="-2730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41,05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273050" marR="0" lvl="0" indent="-2730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273050" marR="0" lvl="0" indent="-2730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41,05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273050" marR="0" lvl="0" indent="-2730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273050" marR="0" lvl="0" indent="-2730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41,05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</a:tr>
            </a:tbl>
          </a:graphicData>
        </a:graphic>
      </p:graphicFrame>
      <p:pic>
        <p:nvPicPr>
          <p:cNvPr id="5229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AutoShape 2"/>
          <p:cNvSpPr>
            <a:spLocks noChangeArrowheads="1"/>
          </p:cNvSpPr>
          <p:nvPr/>
        </p:nvSpPr>
        <p:spPr bwMode="auto">
          <a:xfrm>
            <a:off x="1357290" y="142852"/>
            <a:ext cx="7072362" cy="857256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отдельных категорий  граждан на 2019 год и плановый период 2020-2021 годы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pic>
        <p:nvPicPr>
          <p:cNvPr id="30723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214414" y="142852"/>
            <a:ext cx="6643734" cy="64770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sz="2400" b="1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Основные понятия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928938" y="5715000"/>
            <a:ext cx="5572125" cy="81915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</a:rPr>
              <a:t>Муниципальный долг</a:t>
            </a:r>
            <a:r>
              <a:rPr lang="ru-RU" sz="1400" b="1" dirty="0">
                <a:solidFill>
                  <a:schemeClr val="tx1"/>
                </a:solidFill>
              </a:rPr>
              <a:t> – обязательства, возникающие из муниципальных заимствований, принятые на себя муниципальным образованием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857250" y="1071563"/>
            <a:ext cx="7929563" cy="50006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</a:rPr>
              <a:t>Межбюджетные трансферты</a:t>
            </a:r>
            <a:r>
              <a:rPr lang="ru-RU" sz="1400" b="1" dirty="0">
                <a:solidFill>
                  <a:schemeClr val="tx1"/>
                </a:solidFill>
              </a:rPr>
              <a:t> – средства предоставляемые одним бюджетом бюджетной системы Российской Федерации другому бюджету бюджетной системы Российской Федерации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14313" y="2000250"/>
            <a:ext cx="2000250" cy="242887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</a:rPr>
              <a:t>Дотации</a:t>
            </a:r>
            <a:r>
              <a:rPr lang="ru-RU" sz="1400" b="1" dirty="0">
                <a:solidFill>
                  <a:schemeClr val="tx1"/>
                </a:solidFill>
              </a:rPr>
              <a:t> – межбюджетные трансферты предоставляемые на безвозмездной и безвозвратной основе без установления направлений и (или) условий их использования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5857875" y="2000250"/>
            <a:ext cx="2928938" cy="335756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dirty="0">
                <a:solidFill>
                  <a:schemeClr val="tx1"/>
                </a:solidFill>
              </a:rPr>
              <a:t> </a:t>
            </a:r>
            <a:r>
              <a:rPr lang="ru-RU" sz="1400" b="1" u="sng" dirty="0">
                <a:solidFill>
                  <a:schemeClr val="tx1"/>
                </a:solidFill>
              </a:rPr>
              <a:t>Субвенции</a:t>
            </a:r>
            <a:r>
              <a:rPr lang="ru-RU" sz="1400" b="1" dirty="0">
                <a:solidFill>
                  <a:schemeClr val="tx1"/>
                </a:solidFill>
              </a:rPr>
              <a:t> – межбюджетные трансферты, предоставляемые местному бюджету в целях финансового обеспечения расходных обязательств муниципального образования, возникающих при выполнении государственных полномочий Российской Федерации, субъекта Российской Федерации, переданных для осуществления органам местного самоуправления в установленном порядке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2643188" y="2000250"/>
            <a:ext cx="2857500" cy="264318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</a:rPr>
              <a:t>Субсидии</a:t>
            </a:r>
            <a:r>
              <a:rPr lang="ru-RU" sz="1400" b="1" dirty="0">
                <a:solidFill>
                  <a:schemeClr val="tx1"/>
                </a:solidFill>
              </a:rPr>
              <a:t> – межбюджетные трансферты, предоставляемые местному бюджету в целях софинансирования расходных обязательств, возникающих при выполнении полномочий органов местного самоуправления по вопросам местного значения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4" name="Picture 1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4572000"/>
            <a:ext cx="2803525" cy="185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70" decel="100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" dur="770" decel="100000"/>
                                        <p:tgtEl>
                                          <p:spTgt spid="1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0" dur="77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2" dur="77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57188" y="2214565"/>
          <a:ext cx="8501063" cy="4357707"/>
        </p:xfrm>
        <a:graphic>
          <a:graphicData uri="http://schemas.openxmlformats.org/drawingml/2006/table">
            <a:tbl>
              <a:tblPr/>
              <a:tblGrid>
                <a:gridCol w="2482850"/>
                <a:gridCol w="1562100"/>
                <a:gridCol w="939800"/>
                <a:gridCol w="938213"/>
                <a:gridCol w="858837"/>
                <a:gridCol w="860425"/>
                <a:gridCol w="858838"/>
              </a:tblGrid>
              <a:tr h="2762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10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</a:tr>
              <a:tr h="785807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мпенсация расходов по оплате жилищно-коммунальных услуг отдельным категориям граждан;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26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029,8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930,7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740,2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</a:tr>
              <a:tr h="1174765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едоставление компенсация расходов на уплату взноса на капитальный ремонт общего имущества  в многоквартирном доме отдельным категориям граждан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2 человека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59,31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31,64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21,01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</a:tr>
              <a:tr h="1039813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годная денежная выплата лицам, награжденным знаком «Почетный донор СССР», «Почетный донор России»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3 человек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 месяц 12373,0 руб.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17,80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86,20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09,60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</a:tr>
            </a:tbl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57158" y="1285860"/>
            <a:ext cx="8429625" cy="714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b="1" dirty="0" smtClean="0"/>
              <a:t>На </a:t>
            </a:r>
            <a:r>
              <a:rPr lang="ru-RU" sz="1600" b="1" dirty="0"/>
              <a:t>предоставление мер социальной поддержки, социальное обеспечение отдельных категорий граждан ( ветеранов, пенсионеров и других категорий населения ) в </a:t>
            </a:r>
            <a:r>
              <a:rPr lang="ru-RU" sz="1600" b="1" dirty="0" smtClean="0"/>
              <a:t>2019 </a:t>
            </a:r>
            <a:r>
              <a:rPr lang="ru-RU" sz="1600" b="1" dirty="0"/>
              <a:t>году и плановый период </a:t>
            </a:r>
            <a:r>
              <a:rPr lang="ru-RU" sz="1600" b="1" dirty="0" smtClean="0"/>
              <a:t>2020-2021 годах.</a:t>
            </a:r>
            <a:endParaRPr lang="ru-RU" sz="1400" b="1" dirty="0"/>
          </a:p>
        </p:txBody>
      </p:sp>
      <p:pic>
        <p:nvPicPr>
          <p:cNvPr id="5329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428728" y="142852"/>
            <a:ext cx="7072362" cy="100013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отдельных категорий  граждан на 2019 год и плановый период 2020-2021 годы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500034" y="2500306"/>
          <a:ext cx="8286750" cy="2883218"/>
        </p:xfrm>
        <a:graphic>
          <a:graphicData uri="http://schemas.openxmlformats.org/drawingml/2006/table">
            <a:tbl>
              <a:tblPr/>
              <a:tblGrid>
                <a:gridCol w="3071812"/>
                <a:gridCol w="1000125"/>
                <a:gridCol w="785813"/>
                <a:gridCol w="857250"/>
                <a:gridCol w="785812"/>
                <a:gridCol w="857250"/>
                <a:gridCol w="928688"/>
              </a:tblGrid>
              <a:tr h="15240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651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</a:tr>
              <a:tr h="458788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субсидии на оплату жилого помещения и  коммунальных услуг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90 человек</a:t>
                      </a:r>
                    </a:p>
                  </a:txBody>
                  <a:tcPr marL="38633" marR="3863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326,90</a:t>
                      </a:r>
                    </a:p>
                  </a:txBody>
                  <a:tcPr marL="38633" marR="3863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1202,80</a:t>
                      </a:r>
                    </a:p>
                  </a:txBody>
                  <a:tcPr marL="38633" marR="3863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1399,0</a:t>
                      </a:r>
                    </a:p>
                  </a:txBody>
                  <a:tcPr marL="38633" marR="3863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</a:tr>
              <a:tr h="1327150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убвенция на выплату ежегодной денежной компенсации многодетным семьям  на каждого из детей не старше 18-ти лет, обучающихся в общеобразовательных организациях, на приобретение комплекта школьной одежды, спортивной одежды и обуви и школьных принадлежност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8 заявителей</a:t>
                      </a:r>
                    </a:p>
                  </a:txBody>
                  <a:tcPr marL="38633" marR="3863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91,52</a:t>
                      </a:r>
                    </a:p>
                  </a:txBody>
                  <a:tcPr marL="38633" marR="3863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91,52</a:t>
                      </a:r>
                    </a:p>
                  </a:txBody>
                  <a:tcPr marL="38633" marR="3863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91,52</a:t>
                      </a:r>
                    </a:p>
                  </a:txBody>
                  <a:tcPr marL="38633" marR="3863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819473"/>
                        </a:gs>
                        <a:gs pos="50000">
                          <a:srgbClr val="BBD5A6"/>
                        </a:gs>
                        <a:gs pos="100000">
                          <a:srgbClr val="DFFEC6"/>
                        </a:gs>
                      </a:gsLst>
                      <a:lin ang="10800000" scaled="1"/>
                    </a:gradFill>
                  </a:tcPr>
                </a:tc>
              </a:tr>
            </a:tbl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57158" y="1428736"/>
            <a:ext cx="8429625" cy="785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b="1" dirty="0" smtClean="0"/>
              <a:t>На </a:t>
            </a:r>
            <a:r>
              <a:rPr lang="ru-RU" sz="1600" b="1" dirty="0"/>
              <a:t>предоставление мер социальной поддержки, социальное обеспечение отдельных категорий граждан ( ветеранов, пенсионеров и других категорий населения ) в </a:t>
            </a:r>
            <a:r>
              <a:rPr lang="ru-RU" sz="1600" b="1" dirty="0" smtClean="0"/>
              <a:t>2019 </a:t>
            </a:r>
            <a:r>
              <a:rPr lang="ru-RU" sz="1600" b="1" dirty="0"/>
              <a:t>году и плановый период </a:t>
            </a:r>
            <a:r>
              <a:rPr lang="ru-RU" sz="1600" b="1" dirty="0" smtClean="0"/>
              <a:t>2020-2021 годах.</a:t>
            </a:r>
            <a:endParaRPr lang="ru-RU" sz="1400" b="1" dirty="0"/>
          </a:p>
        </p:txBody>
      </p:sp>
      <p:pic>
        <p:nvPicPr>
          <p:cNvPr id="54330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428728" y="214290"/>
            <a:ext cx="7072362" cy="100013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отдельных категорий  граждан на 2019 год и плановый период 2020-2021 годы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357188" y="1874542"/>
          <a:ext cx="8429625" cy="4840606"/>
        </p:xfrm>
        <a:graphic>
          <a:graphicData uri="http://schemas.openxmlformats.org/drawingml/2006/table">
            <a:tbl>
              <a:tblPr/>
              <a:tblGrid>
                <a:gridCol w="2928937"/>
                <a:gridCol w="1143000"/>
                <a:gridCol w="785813"/>
                <a:gridCol w="1071562"/>
                <a:gridCol w="785813"/>
                <a:gridCol w="1000125"/>
                <a:gridCol w="714375"/>
              </a:tblGrid>
              <a:tr h="25558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45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ежемесячного пособия на ребенк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08 человек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278,93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268,40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268,40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</a:tr>
              <a:tr h="712788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выплата многодетным семьям;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2 человек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в месяц 316,50 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707,26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633,77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70,96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</a:tr>
              <a:tr h="534988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ежегодного социального пособия на проезд учащимся (студентам)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 месяц 582,55 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,6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,6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,6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</a:tr>
              <a:tr h="1069975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денежная выплата нуждающимся в поддержке семьям, назначаемая в случае рождения в них после 31 декабря 2012 года третьего ребенка или последующих детей до достижения ребенком возраста трех лет;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 месяц 7725 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861,4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376,14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086,02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</a:tr>
              <a:tr h="1069975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пособия по уходу за ребенком до достижения им возраста полутора лет лицам, не подлежащим обязательному социальному страхованию на случай временной нетрудоспособности и в связи с материнством;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64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08,62 руб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817,24 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92,4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273050" marR="0" lvl="0" indent="-2730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273050" marR="0" lvl="0" indent="-2730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193,3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273050" marR="0" lvl="0" indent="-2730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273050" marR="0" lvl="0" indent="-2730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002,8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</a:tr>
            </a:tbl>
          </a:graphicData>
        </a:graphic>
      </p:graphicFrame>
      <p:pic>
        <p:nvPicPr>
          <p:cNvPr id="55363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Рисунок 9" descr="Ð§Ð°ÑÑÐ½ÑÐ¹ Ð´ÐµÑÑÐºÐ¸Ð¹ ÑÐ°Ð´Ð¸Ðº Ð¿ÑÐ¸Ð³Ð»Ð°ÑÐ°ÐµÑ Ð½Ð° ÑÐ°Ð±Ð¾ÑÑ Ð²Ð¾ÑÐ¿Ð¸ÑÐ°ÑÐµÐ»ÐµÐ¹ Ð¸ Ð½ÑÐ½Ñ"/>
          <p:cNvPicPr/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500958" y="0"/>
            <a:ext cx="1643042" cy="1857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071538" y="142852"/>
            <a:ext cx="6357982" cy="100013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материнства и детства на 2019 год и плановый период 2020-2021 годы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357159" y="1285861"/>
            <a:ext cx="7000924" cy="642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b="1" dirty="0" smtClean="0"/>
              <a:t>На </a:t>
            </a:r>
            <a:r>
              <a:rPr lang="ru-RU" sz="1600" b="1" dirty="0"/>
              <a:t>предоставление мер социальной </a:t>
            </a:r>
            <a:r>
              <a:rPr lang="ru-RU" sz="1600" b="1" dirty="0" smtClean="0"/>
              <a:t>поддержки семьям с детьми </a:t>
            </a:r>
            <a:r>
              <a:rPr lang="ru-RU" sz="1600" b="1" dirty="0"/>
              <a:t>в </a:t>
            </a:r>
            <a:r>
              <a:rPr lang="ru-RU" sz="1600" b="1" dirty="0" smtClean="0"/>
              <a:t>2019 </a:t>
            </a:r>
            <a:r>
              <a:rPr lang="ru-RU" sz="1600" b="1" dirty="0"/>
              <a:t>году и плановый период </a:t>
            </a:r>
            <a:r>
              <a:rPr lang="ru-RU" sz="1600" b="1" dirty="0" smtClean="0"/>
              <a:t>2020-2021 годах.</a:t>
            </a:r>
            <a:endParaRPr lang="ru-RU" sz="14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pic>
        <p:nvPicPr>
          <p:cNvPr id="56379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1" descr="http://www.gazpromviet.com/images/sots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43306" y="1214422"/>
            <a:ext cx="2214546" cy="178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428655" y="3086440"/>
          <a:ext cx="8501063" cy="3557270"/>
        </p:xfrm>
        <a:graphic>
          <a:graphicData uri="http://schemas.openxmlformats.org/drawingml/2006/table">
            <a:tbl>
              <a:tblPr/>
              <a:tblGrid>
                <a:gridCol w="2786063"/>
                <a:gridCol w="1357312"/>
                <a:gridCol w="714375"/>
                <a:gridCol w="928688"/>
                <a:gridCol w="820737"/>
                <a:gridCol w="947738"/>
                <a:gridCol w="946150"/>
              </a:tblGrid>
              <a:tr h="22225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747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</a:tr>
              <a:tr h="928688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единовременного пособия при рождении ребенка лицам, не подлежащим обязательному социальному страхованию на случай временной нетрудоспособности и в связи с материнством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2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овая выплата 15512,65 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37,4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37,4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37,4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</a:tr>
              <a:tr h="465138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е денежных средств на содержание ребенка опекуну (попечителю);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в месяц 5455,0 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74,04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15,66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15,66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</a:tr>
              <a:tr h="774700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ы единовременных пособий усыновителям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разовая выплата150,0 тыс. 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70,0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7,50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7,50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77474"/>
                        </a:gs>
                        <a:gs pos="50000">
                          <a:srgbClr val="DAA8A8"/>
                        </a:gs>
                        <a:gs pos="100000">
                          <a:srgbClr val="FFC8C8"/>
                        </a:gs>
                      </a:gsLst>
                      <a:lin ang="10800000" scaled="1"/>
                    </a:gradFill>
                  </a:tcPr>
                </a:tc>
              </a:tr>
            </a:tbl>
          </a:graphicData>
        </a:graphic>
      </p:graphicFrame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214414" y="142852"/>
            <a:ext cx="6357982" cy="100013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материнства и детства на 2019 год и плановый период 2020-2021 годы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55300" name="Rectangle 2"/>
          <p:cNvSpPr>
            <a:spLocks noChangeArrowheads="1"/>
          </p:cNvSpPr>
          <p:nvPr/>
        </p:nvSpPr>
        <p:spPr bwMode="auto">
          <a:xfrm>
            <a:off x="285720" y="1285860"/>
            <a:ext cx="8572500" cy="78581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>
              <a:defRPr/>
            </a:pPr>
            <a:r>
              <a:rPr lang="ru-RU" sz="1600" b="1" dirty="0"/>
              <a:t>Отрасль физической культуры и спорта в городе-курорте Железноводске Ставропольского края представляет спортивно-оздоровительный комплекс МБУ «Железноводск».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57188" y="3500438"/>
          <a:ext cx="8143875" cy="3068956"/>
        </p:xfrm>
        <a:graphic>
          <a:graphicData uri="http://schemas.openxmlformats.org/drawingml/2006/table">
            <a:tbl>
              <a:tblPr/>
              <a:tblGrid>
                <a:gridCol w="858838"/>
                <a:gridCol w="2570156"/>
                <a:gridCol w="1071570"/>
                <a:gridCol w="1000132"/>
                <a:gridCol w="857256"/>
                <a:gridCol w="928694"/>
                <a:gridCol w="857229"/>
              </a:tblGrid>
              <a:tr h="4953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тыс. рублей)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1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7 (фа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8 (оценка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349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зическая культура и спорт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8 003,86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 787,92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8 278,6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 963,75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 892,5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1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зическая культура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 085,08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 253,57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6 098,06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 860,33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800,32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2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ассовый спорт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25,2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25,2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9,2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4,47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93,23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3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порт высших достижений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6 595,65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5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физической культуры и спорта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697,93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809,15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571,35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498,95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498,95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44000">
                          <a:srgbClr val="729459">
                            <a:alpha val="42000"/>
                          </a:srgbClr>
                        </a:gs>
                        <a:gs pos="50000">
                          <a:srgbClr val="A6D583"/>
                        </a:gs>
                        <a:gs pos="100000">
                          <a:srgbClr val="C6FD9D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</a:tbl>
          </a:graphicData>
        </a:graphic>
      </p:graphicFrame>
      <p:pic>
        <p:nvPicPr>
          <p:cNvPr id="57351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857356" y="285728"/>
            <a:ext cx="6357982" cy="571504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здел «Физическая культура и спорт»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214282" y="2643182"/>
            <a:ext cx="8715436" cy="428628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anchor="ctr">
            <a:flatTx/>
          </a:bodyPr>
          <a:lstStyle/>
          <a:p>
            <a:r>
              <a:rPr lang="ru-RU" sz="1800" b="1" dirty="0" smtClean="0">
                <a:solidFill>
                  <a:schemeClr val="bg1"/>
                </a:solidFill>
                <a:cs typeface="Times New Roman" pitchFamily="18" charset="0"/>
              </a:rPr>
              <a:t>Структура расходов бюджета по физической культуре и спорту в 2017-2021 годах</a:t>
            </a:r>
            <a:endParaRPr lang="ru-RU" sz="18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14340" name="Rectangle 2"/>
          <p:cNvSpPr>
            <a:spLocks noChangeArrowheads="1"/>
          </p:cNvSpPr>
          <p:nvPr/>
        </p:nvSpPr>
        <p:spPr bwMode="auto">
          <a:xfrm>
            <a:off x="428625" y="1214438"/>
            <a:ext cx="8429625" cy="107155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dirty="0">
                <a:solidFill>
                  <a:schemeClr val="bg1"/>
                </a:solidFill>
              </a:rPr>
              <a:t> </a:t>
            </a:r>
            <a:r>
              <a:rPr lang="ru-RU" sz="1400" b="1" dirty="0" smtClean="0">
                <a:solidFill>
                  <a:schemeClr val="bg1"/>
                </a:solidFill>
              </a:rPr>
              <a:t>Расходы </a:t>
            </a:r>
            <a:r>
              <a:rPr lang="ru-RU" sz="1400" b="1" dirty="0">
                <a:solidFill>
                  <a:schemeClr val="bg1"/>
                </a:solidFill>
              </a:rPr>
              <a:t>на физическую культуру и спорт </a:t>
            </a:r>
            <a:r>
              <a:rPr lang="ru-RU" sz="1400" b="1" dirty="0" smtClean="0">
                <a:solidFill>
                  <a:schemeClr val="bg1"/>
                </a:solidFill>
              </a:rPr>
              <a:t>в 2017 году в сумме 226 595,65 тыс. руб.  были связаны </a:t>
            </a:r>
            <a:r>
              <a:rPr lang="ru-RU" sz="1400" b="1" dirty="0">
                <a:solidFill>
                  <a:schemeClr val="bg1"/>
                </a:solidFill>
              </a:rPr>
              <a:t>с выделением дополнительных ассигнований на реконструкцию </a:t>
            </a:r>
            <a:r>
              <a:rPr lang="ru-RU" sz="1400" b="1" dirty="0" smtClean="0">
                <a:solidFill>
                  <a:schemeClr val="bg1"/>
                </a:solidFill>
              </a:rPr>
              <a:t>стадионов в г. Железноводске и в пос. Капельница </a:t>
            </a:r>
            <a:r>
              <a:rPr lang="ru-RU" sz="1400" b="1" dirty="0">
                <a:solidFill>
                  <a:schemeClr val="bg1"/>
                </a:solidFill>
              </a:rPr>
              <a:t>в рамках подготовки к чемпионату мира по футболу в 2018 году в Российской </a:t>
            </a:r>
            <a:r>
              <a:rPr lang="ru-RU" sz="1400" b="1" dirty="0" smtClean="0">
                <a:solidFill>
                  <a:schemeClr val="bg1"/>
                </a:solidFill>
              </a:rPr>
              <a:t>Федерации. В 2019 году запланирована реконструкция стадиона в г. Железноводске в сумме 50 000,00 тыс.руб.</a:t>
            </a:r>
            <a:endParaRPr lang="ru-RU" sz="1400" b="1" dirty="0">
              <a:solidFill>
                <a:schemeClr val="bg1"/>
              </a:solidFill>
            </a:endParaRPr>
          </a:p>
        </p:txBody>
      </p:sp>
      <p:graphicFrame>
        <p:nvGraphicFramePr>
          <p:cNvPr id="14338" name="Object 12"/>
          <p:cNvGraphicFramePr>
            <a:graphicFrameLocks noGrp="1" noChangeAspect="1"/>
          </p:cNvGraphicFramePr>
          <p:nvPr/>
        </p:nvGraphicFramePr>
        <p:xfrm>
          <a:off x="-433388" y="2262188"/>
          <a:ext cx="7608888" cy="4246562"/>
        </p:xfrm>
        <a:graphic>
          <a:graphicData uri="http://schemas.openxmlformats.org/presentationml/2006/ole">
            <p:oleObj spid="_x0000_s14338" name="Worksheet" r:id="rId4" imgW="4448086" imgH="2333576" progId="Excel.Sheet.8">
              <p:embed/>
            </p:oleObj>
          </a:graphicData>
        </a:graphic>
      </p:graphicFrame>
      <p:sp>
        <p:nvSpPr>
          <p:cNvPr id="14341" name="Text Box 7"/>
          <p:cNvSpPr txBox="1">
            <a:spLocks noChangeArrowheads="1"/>
          </p:cNvSpPr>
          <p:nvPr/>
        </p:nvSpPr>
        <p:spPr bwMode="auto">
          <a:xfrm>
            <a:off x="4572000" y="3429000"/>
            <a:ext cx="129381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800" b="1" i="1" dirty="0"/>
              <a:t>млн. рублей</a:t>
            </a:r>
          </a:p>
        </p:txBody>
      </p:sp>
      <p:pic>
        <p:nvPicPr>
          <p:cNvPr id="14342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857356" y="285728"/>
            <a:ext cx="6357982" cy="571504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здел «Физическая культура и спорт»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9" name="Рисунок 8" descr="http://www.bockroir.by/wp-content/uploads/2018/06/eea5243384571298834eaf294206ade0-660x330.jpg"/>
          <p:cNvPicPr/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245226" y="5156178"/>
            <a:ext cx="2898774" cy="17018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1" descr="C:\Users\ZhRev-new\Desktop\123\2c30fc90d8741f0b3d110d96ce3ce658.jpe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1087"/>
          <a:stretch>
            <a:fillRect/>
          </a:stretch>
        </p:blipFill>
        <p:spPr bwMode="auto">
          <a:xfrm>
            <a:off x="4763" y="0"/>
            <a:ext cx="913923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4" name="Text Box 7"/>
          <p:cNvSpPr txBox="1">
            <a:spLocks noChangeArrowheads="1"/>
          </p:cNvSpPr>
          <p:nvPr/>
        </p:nvSpPr>
        <p:spPr bwMode="auto">
          <a:xfrm>
            <a:off x="7429520" y="1357298"/>
            <a:ext cx="1293813" cy="2444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i="1" dirty="0"/>
              <a:t>рублей</a:t>
            </a:r>
          </a:p>
        </p:txBody>
      </p:sp>
      <p:pic>
        <p:nvPicPr>
          <p:cNvPr id="15366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643042" y="214290"/>
            <a:ext cx="6929486" cy="857256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на Физическую культуру в расчете на 1 жител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15363" name="Object 3"/>
          <p:cNvGraphicFramePr>
            <a:graphicFrameLocks noGrp="1" noChangeAspect="1"/>
          </p:cNvGraphicFramePr>
          <p:nvPr/>
        </p:nvGraphicFramePr>
        <p:xfrm>
          <a:off x="635001" y="1714488"/>
          <a:ext cx="7151710" cy="3470045"/>
        </p:xfrm>
        <a:graphic>
          <a:graphicData uri="http://schemas.openxmlformats.org/presentationml/2006/ole">
            <p:oleObj spid="_x0000_s15363" name="Worksheet" r:id="rId5" imgW="6772277" imgH="3286171" progId="Excel.Sheet.8">
              <p:embed/>
            </p:oleObj>
          </a:graphicData>
        </a:graphic>
      </p:graphicFrame>
      <p:pic>
        <p:nvPicPr>
          <p:cNvPr id="11" name="Рисунок 10" descr="http://static.norma.uz/images/139590_e31ae1e3733edd9c1fa8f0942f10.jpg"/>
          <p:cNvPicPr/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785918" y="5429264"/>
            <a:ext cx="5154607" cy="14287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graphicFrame>
        <p:nvGraphicFramePr>
          <p:cNvPr id="18434" name="Object 5"/>
          <p:cNvGraphicFramePr>
            <a:graphicFrameLocks noChangeAspect="1"/>
          </p:cNvGraphicFramePr>
          <p:nvPr/>
        </p:nvGraphicFramePr>
        <p:xfrm>
          <a:off x="-327025" y="1236663"/>
          <a:ext cx="6756400" cy="5264150"/>
        </p:xfrm>
        <a:graphic>
          <a:graphicData uri="http://schemas.openxmlformats.org/presentationml/2006/ole">
            <p:oleObj spid="_x0000_s171010" r:id="rId4" imgW="6761050" imgH="5261304" progId="Excel.Sheet.8">
              <p:embed/>
            </p:oleObj>
          </a:graphicData>
        </a:graphic>
      </p:graphicFrame>
      <p:sp>
        <p:nvSpPr>
          <p:cNvPr id="18437" name="Rectangle 2"/>
          <p:cNvSpPr>
            <a:spLocks noChangeArrowheads="1"/>
          </p:cNvSpPr>
          <p:nvPr/>
        </p:nvSpPr>
        <p:spPr bwMode="auto">
          <a:xfrm>
            <a:off x="323850" y="260350"/>
            <a:ext cx="849630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900" b="1" dirty="0">
              <a:solidFill>
                <a:srgbClr val="CC3300"/>
              </a:solidFill>
            </a:endParaRPr>
          </a:p>
        </p:txBody>
      </p:sp>
      <p:graphicFrame>
        <p:nvGraphicFramePr>
          <p:cNvPr id="18435" name="Object 3"/>
          <p:cNvGraphicFramePr>
            <a:graphicFrameLocks noChangeAspect="1"/>
          </p:cNvGraphicFramePr>
          <p:nvPr/>
        </p:nvGraphicFramePr>
        <p:xfrm>
          <a:off x="-139700" y="1471613"/>
          <a:ext cx="9345613" cy="5549900"/>
        </p:xfrm>
        <a:graphic>
          <a:graphicData uri="http://schemas.openxmlformats.org/presentationml/2006/ole">
            <p:oleObj spid="_x0000_s171011" name="Worksheet" r:id="rId5" imgW="8839214" imgH="5248319" progId="Excel.Sheet.8">
              <p:embed/>
            </p:oleObj>
          </a:graphicData>
        </a:graphic>
      </p:graphicFrame>
      <p:pic>
        <p:nvPicPr>
          <p:cNvPr id="1843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142976" y="142852"/>
            <a:ext cx="7500990" cy="1143008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Расходы бюджета города-курорта Железноводска                    </a:t>
            </a:r>
          </a:p>
          <a:p>
            <a:pPr algn="ctr"/>
            <a:r>
              <a:rPr lang="ru-RU" b="1" dirty="0" smtClean="0">
                <a:solidFill>
                  <a:schemeClr val="bg1"/>
                </a:solidFill>
              </a:rPr>
              <a:t>Ставропольского края в разрезе муниципальных программ  на 2019 год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58371" name="Rectangle 2"/>
          <p:cNvSpPr>
            <a:spLocks noChangeArrowheads="1"/>
          </p:cNvSpPr>
          <p:nvPr/>
        </p:nvSpPr>
        <p:spPr bwMode="auto">
          <a:xfrm>
            <a:off x="-1143040" y="0"/>
            <a:ext cx="8496300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CC3300"/>
              </a:solidFill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142844" y="1643050"/>
          <a:ext cx="8786874" cy="5137122"/>
        </p:xfrm>
        <a:graphic>
          <a:graphicData uri="http://schemas.openxmlformats.org/drawingml/2006/table">
            <a:tbl>
              <a:tblPr/>
              <a:tblGrid>
                <a:gridCol w="3786214"/>
                <a:gridCol w="785818"/>
                <a:gridCol w="785818"/>
                <a:gridCol w="785818"/>
                <a:gridCol w="571504"/>
                <a:gridCol w="928694"/>
                <a:gridCol w="642942"/>
                <a:gridCol w="500066"/>
              </a:tblGrid>
              <a:tr h="233711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Наименование муниципальной программы  </a:t>
                      </a:r>
                    </a:p>
                  </a:txBody>
                  <a:tcPr marL="4206" marR="4206" marT="420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19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 </a:t>
                      </a:r>
                    </a:p>
                  </a:txBody>
                  <a:tcPr marL="4206" marR="4206" marT="420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20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 </a:t>
                      </a:r>
                    </a:p>
                  </a:txBody>
                  <a:tcPr marL="4206" marR="4206" marT="420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Отклонение </a:t>
                      </a:r>
                    </a:p>
                  </a:txBody>
                  <a:tcPr marL="4206" marR="4206" marT="420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21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 </a:t>
                      </a:r>
                    </a:p>
                  </a:txBody>
                  <a:tcPr marL="4206" marR="4206" marT="420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Отклонение </a:t>
                      </a:r>
                    </a:p>
                  </a:txBody>
                  <a:tcPr marL="4206" marR="4206" marT="420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2347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(+/-) </a:t>
                      </a:r>
                    </a:p>
                  </a:txBody>
                  <a:tcPr marL="4206" marR="4206" marT="420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%</a:t>
                      </a:r>
                    </a:p>
                  </a:txBody>
                  <a:tcPr marL="4206" marR="4206" marT="420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(+/-) </a:t>
                      </a:r>
                    </a:p>
                  </a:txBody>
                  <a:tcPr marL="4206" marR="4206" marT="420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%</a:t>
                      </a:r>
                    </a:p>
                  </a:txBody>
                  <a:tcPr marL="4206" marR="4206" marT="4206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«Развитие образования в городе-курорте Железноводске Ставропольского края»</a:t>
                      </a:r>
                    </a:p>
                  </a:txBody>
                  <a:tcPr marL="4206" marR="4206" marT="42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69971,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58196,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11774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7,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53979,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4217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9,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  <a:tr h="36658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«Социальная поддержка населения города-курорта Железноводска Ставропольского края»</a:t>
                      </a:r>
                    </a:p>
                  </a:txBody>
                  <a:tcPr marL="4206" marR="4206" marT="42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70807,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73818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010,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1,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74876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58,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,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«Управление имуществом города-курорта Железноводска Ставропольского края»</a:t>
                      </a:r>
                    </a:p>
                  </a:txBody>
                  <a:tcPr marL="4206" marR="4206" marT="42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368,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445,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922,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1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105,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340,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6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  <a:tr h="322509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«Развитие физической культуры и спорта в городе-курорте Железноводске Ставропольского края»</a:t>
                      </a:r>
                    </a:p>
                  </a:txBody>
                  <a:tcPr marL="4206" marR="4206" marT="42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8239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6926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51312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4,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3856,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3069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81,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  <a:tr h="35719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«Развитие градостроительства, строительства и архитектуры в городе-курорте Железноводске Ставропольского края»</a:t>
                      </a:r>
                    </a:p>
                  </a:txBody>
                  <a:tcPr marL="4206" marR="4206" marT="42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5828,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5309,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20518,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5118,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191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6,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«Культура города-курорта Железноводска Ставропольского края»</a:t>
                      </a:r>
                    </a:p>
                  </a:txBody>
                  <a:tcPr marL="4206" marR="4206" marT="42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115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51179,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48936,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51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50908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271,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9,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«Развитие экономики города-курорта Железноводска Ставропольского края»</a:t>
                      </a:r>
                    </a:p>
                  </a:txBody>
                  <a:tcPr marL="4206" marR="4206" marT="42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325,0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35,0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19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1,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35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  <a:tr h="322109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«Развитие жилищно-коммунального хозяйства в городе-курорте Железноводске Ставропольского края»</a:t>
                      </a:r>
                    </a:p>
                  </a:txBody>
                  <a:tcPr marL="4206" marR="4206" marT="42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3623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59758,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33864,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3,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56507,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3250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4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  <a:tr h="37273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«Развитие транспортной системы и охрана окружающей среды в городе-курорте Железноводске Ставропольского края»</a:t>
                      </a:r>
                    </a:p>
                  </a:txBody>
                  <a:tcPr marL="4206" marR="4206" marT="42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47873,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4164,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123709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6,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0348,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184,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25,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  <a:tr h="323648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«Создание условий безопасной жизни населения города-курорта Железноводска Ставропольского края»</a:t>
                      </a:r>
                    </a:p>
                  </a:txBody>
                  <a:tcPr marL="4206" marR="4206" marT="42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977,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873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1103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86,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6873,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  <a:tr h="302831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«Открытость и эффективность работы администрации города-курорта Железноводска Ставропольского края»</a:t>
                      </a:r>
                    </a:p>
                  </a:txBody>
                  <a:tcPr marL="4206" marR="4206" marT="42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5462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3548,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1914,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87,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2525,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1022,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2,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  <a:tr h="267117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«Молодежь города-курорта Железноводска Ставропольского края»</a:t>
                      </a:r>
                    </a:p>
                  </a:txBody>
                  <a:tcPr marL="4206" marR="4206" marT="42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809,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807,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2,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9,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805,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1,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9,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"Формирование современной городской среды"</a:t>
                      </a:r>
                    </a:p>
                  </a:txBody>
                  <a:tcPr marL="4206" marR="4206" marT="420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70263,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8430,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131832,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2,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8457,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6,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,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  <a:tr h="169892">
                <a:tc>
                  <a:txBody>
                    <a:bodyPr/>
                    <a:lstStyle/>
                    <a:p>
                      <a:pPr algn="l" fontAlgn="t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Непрограммные направления деятельности</a:t>
                      </a:r>
                    </a:p>
                  </a:txBody>
                  <a:tcPr marL="4206" marR="4206" marT="420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6961,4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0262,0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6699,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3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0472,0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09,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0,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  <a:tr h="169892">
                <a:tc>
                  <a:txBody>
                    <a:bodyPr/>
                    <a:lstStyle/>
                    <a:p>
                      <a:pPr algn="l" fontAlgn="t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Условно утвержденные расходы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2 874,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2874,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5618,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2744,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  <a:tr h="233711">
                <a:tc>
                  <a:txBody>
                    <a:bodyPr/>
                    <a:lstStyle/>
                    <a:p>
                      <a:pPr algn="l" fontAlgn="t">
                        <a:lnSpc>
                          <a:spcPts val="1200"/>
                        </a:lnSpc>
                      </a:pP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Итого</a:t>
                      </a:r>
                    </a:p>
                  </a:txBody>
                  <a:tcPr marL="4206" marR="4206" marT="4206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478626,6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61730,6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-416896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1,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69590,5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859,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100,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tx2">
                            <a:lumMod val="40000"/>
                            <a:lumOff val="60000"/>
                            <a:shade val="30000"/>
                            <a:satMod val="115000"/>
                            <a:alpha val="28000"/>
                          </a:schemeClr>
                        </a:gs>
                        <a:gs pos="50000">
                          <a:schemeClr val="tx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135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58549" name="Text Box 6"/>
          <p:cNvSpPr txBox="1">
            <a:spLocks noChangeArrowheads="1"/>
          </p:cNvSpPr>
          <p:nvPr/>
        </p:nvSpPr>
        <p:spPr bwMode="auto">
          <a:xfrm>
            <a:off x="7921625" y="1304913"/>
            <a:ext cx="1222375" cy="3381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 b="1" dirty="0"/>
              <a:t>тыс.рублей</a:t>
            </a:r>
          </a:p>
        </p:txBody>
      </p:sp>
      <p:pic>
        <p:nvPicPr>
          <p:cNvPr id="58550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142976" y="142852"/>
            <a:ext cx="7643866" cy="1143008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Сведения о планируемых расходах на реализацию муниципальных программ на 2019 год и на плановый период 2020-2021 годов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2" name="AutoShape 2"/>
          <p:cNvSpPr>
            <a:spLocks noChangeArrowheads="1"/>
          </p:cNvSpPr>
          <p:nvPr/>
        </p:nvSpPr>
        <p:spPr bwMode="auto">
          <a:xfrm>
            <a:off x="1428728" y="214290"/>
            <a:ext cx="7429552" cy="928694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Реализация проектов развития территорий, </a:t>
            </a:r>
            <a:br>
              <a:rPr lang="ru-RU" sz="2400" b="1" dirty="0" smtClean="0">
                <a:solidFill>
                  <a:schemeClr val="bg1"/>
                </a:solidFill>
              </a:rPr>
            </a:br>
            <a:r>
              <a:rPr lang="ru-RU" sz="2400" b="1" dirty="0" smtClean="0">
                <a:solidFill>
                  <a:schemeClr val="bg1"/>
                </a:solidFill>
              </a:rPr>
              <a:t>основанных на местных инициативах в 2019 году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56" name="Object 12"/>
          <p:cNvGraphicFramePr>
            <a:graphicFrameLocks noChangeAspect="1"/>
          </p:cNvGraphicFramePr>
          <p:nvPr/>
        </p:nvGraphicFramePr>
        <p:xfrm>
          <a:off x="0" y="1143000"/>
          <a:ext cx="9372600" cy="5440363"/>
        </p:xfrm>
        <a:graphic>
          <a:graphicData uri="http://schemas.openxmlformats.org/presentationml/2006/ole">
            <p:oleObj spid="_x0000_s155650" name="Worksheet" r:id="rId4" imgW="7038900" imgH="4086225" progId="Excel.Sheet.8">
              <p:embed/>
            </p:oleObj>
          </a:graphicData>
        </a:graphic>
      </p:graphicFrame>
      <p:sp>
        <p:nvSpPr>
          <p:cNvPr id="57" name="Text Box 7"/>
          <p:cNvSpPr txBox="1">
            <a:spLocks noChangeArrowheads="1"/>
          </p:cNvSpPr>
          <p:nvPr/>
        </p:nvSpPr>
        <p:spPr bwMode="auto">
          <a:xfrm>
            <a:off x="357158" y="1285860"/>
            <a:ext cx="1293813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 smtClean="0"/>
              <a:t>млн. </a:t>
            </a:r>
            <a:r>
              <a:rPr lang="ru-RU" sz="1600" b="1" i="1" dirty="0"/>
              <a:t>рублей</a:t>
            </a:r>
          </a:p>
        </p:txBody>
      </p:sp>
      <p:pic>
        <p:nvPicPr>
          <p:cNvPr id="5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" name="TextBox 59"/>
          <p:cNvSpPr txBox="1"/>
          <p:nvPr/>
        </p:nvSpPr>
        <p:spPr>
          <a:xfrm>
            <a:off x="500034" y="5500702"/>
            <a:ext cx="14444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Субсидии </a:t>
            </a:r>
          </a:p>
          <a:p>
            <a:r>
              <a:rPr lang="ru-RU" dirty="0" smtClean="0"/>
              <a:t>из краевого</a:t>
            </a:r>
          </a:p>
          <a:p>
            <a:r>
              <a:rPr lang="ru-RU" dirty="0" smtClean="0"/>
              <a:t>бюджета</a:t>
            </a:r>
            <a:endParaRPr lang="ru-RU" dirty="0"/>
          </a:p>
        </p:txBody>
      </p:sp>
      <p:sp>
        <p:nvSpPr>
          <p:cNvPr id="61" name="TextBox 60"/>
          <p:cNvSpPr txBox="1"/>
          <p:nvPr/>
        </p:nvSpPr>
        <p:spPr>
          <a:xfrm>
            <a:off x="1928794" y="5500702"/>
            <a:ext cx="118295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Средства</a:t>
            </a:r>
          </a:p>
          <a:p>
            <a:r>
              <a:rPr lang="ru-RU" dirty="0" smtClean="0"/>
              <a:t>местного</a:t>
            </a:r>
          </a:p>
          <a:p>
            <a:r>
              <a:rPr lang="ru-RU" dirty="0" smtClean="0"/>
              <a:t>бюджета</a:t>
            </a:r>
            <a:endParaRPr lang="ru-RU" dirty="0"/>
          </a:p>
        </p:txBody>
      </p:sp>
      <p:sp>
        <p:nvSpPr>
          <p:cNvPr id="62" name="Прямоугольник 61"/>
          <p:cNvSpPr/>
          <p:nvPr/>
        </p:nvSpPr>
        <p:spPr>
          <a:xfrm>
            <a:off x="3071802" y="5572140"/>
            <a:ext cx="157163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Средства ИП и организаций</a:t>
            </a:r>
            <a:endParaRPr lang="ru-RU" dirty="0"/>
          </a:p>
        </p:txBody>
      </p:sp>
      <p:sp>
        <p:nvSpPr>
          <p:cNvPr id="63" name="TextBox 62"/>
          <p:cNvSpPr txBox="1"/>
          <p:nvPr/>
        </p:nvSpPr>
        <p:spPr>
          <a:xfrm>
            <a:off x="4286248" y="5572140"/>
            <a:ext cx="135732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Средства населения</a:t>
            </a:r>
            <a:endParaRPr lang="ru-RU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pic>
        <p:nvPicPr>
          <p:cNvPr id="3174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214414" y="142852"/>
            <a:ext cx="6643734" cy="64770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sz="2400" b="1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Гражданин в бюджетном процессе</a:t>
            </a:r>
          </a:p>
        </p:txBody>
      </p:sp>
      <p:sp>
        <p:nvSpPr>
          <p:cNvPr id="15" name="Стрелка вниз 14"/>
          <p:cNvSpPr/>
          <p:nvPr/>
        </p:nvSpPr>
        <p:spPr>
          <a:xfrm>
            <a:off x="1714500" y="785813"/>
            <a:ext cx="714375" cy="64293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Стрелка вниз 15"/>
          <p:cNvSpPr/>
          <p:nvPr/>
        </p:nvSpPr>
        <p:spPr>
          <a:xfrm>
            <a:off x="6000750" y="785813"/>
            <a:ext cx="642938" cy="71437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7" name="Выноска со стрелкой вниз 16"/>
          <p:cNvSpPr/>
          <p:nvPr/>
        </p:nvSpPr>
        <p:spPr>
          <a:xfrm>
            <a:off x="642938" y="1428750"/>
            <a:ext cx="2857500" cy="1714500"/>
          </a:xfrm>
          <a:prstGeom prst="downArrowCallout">
            <a:avLst/>
          </a:prstGeom>
          <a:solidFill>
            <a:srgbClr val="B2FC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dirty="0">
                <a:solidFill>
                  <a:schemeClr val="tx1"/>
                </a:solidFill>
              </a:rPr>
              <a:t>Налогоплательщик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642938" y="3214688"/>
            <a:ext cx="2714625" cy="857250"/>
          </a:xfrm>
          <a:prstGeom prst="roundRect">
            <a:avLst/>
          </a:prstGeom>
          <a:solidFill>
            <a:srgbClr val="B2FC9E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800" dirty="0"/>
              <a:t>Участвует в </a:t>
            </a:r>
            <a:r>
              <a:rPr lang="ru-RU" sz="1800" b="1" dirty="0"/>
              <a:t>ДОХОДНОЙ </a:t>
            </a:r>
            <a:r>
              <a:rPr lang="ru-RU" sz="1800" dirty="0"/>
              <a:t>части бюджета</a:t>
            </a:r>
          </a:p>
        </p:txBody>
      </p:sp>
      <p:pic>
        <p:nvPicPr>
          <p:cNvPr id="31753" name="Picture 13" descr="ÐÐ½Ð²Ð°Ð»Ð¸Ð´ 3 Ð³ÑÑÐ¿Ð¿Ñ: ÐºÐ°ÐºÐ¸Ðµ Ð»ÑÐ³Ð¾ÑÑ Ð¿Ð¾Ð»Ð°Ð³Ð°ÑÑÑÑ? Ð¡Ð¾ÑÐ¸Ð°Ð»ÑÐ½Ð°Ñ Ð·Ð°ÑÐ¸ÑÐ° Ð¸Ð½Ð²Ð°Ð»Ð¸Ð´Ð¾Ð²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131050" y="2357438"/>
            <a:ext cx="1870075" cy="935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4" name="Рисунок 13" descr="https://grebnevo-org.ru/wp-content/uploads/2018/07/%D0%B6%D0%BA%D1%85-1-800x445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715000" y="5500688"/>
            <a:ext cx="221456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5" name="Picture 10" descr="ÐÐµÑÑÐºÐ°Ñ Ð¿Ð¾Ð»Ð¸ÐºÐ»Ð¸Ð½Ð¸ÐºÐ° â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486650" y="4786313"/>
            <a:ext cx="1657350" cy="207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6" name="Picture 1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0" y="4071938"/>
            <a:ext cx="3694113" cy="27146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31757" name="Рисунок 12" descr="http://politrussia.com/upload/iblock/0f6/0f6d234ca5593022b4d956039b6a5a25.gif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240088" y="5143500"/>
            <a:ext cx="2832100" cy="171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8" name="Рисунок 21" descr="http://static.norma.uz/images/139590_e31ae1e3733edd9c1fa8f0942f10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3643313" y="2428875"/>
            <a:ext cx="2428875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Скругленный прямоугольник 9"/>
          <p:cNvSpPr/>
          <p:nvPr/>
        </p:nvSpPr>
        <p:spPr>
          <a:xfrm>
            <a:off x="3786188" y="3214688"/>
            <a:ext cx="5143500" cy="1928812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800" dirty="0"/>
              <a:t>Получает социальные гарантии (образование, здравоохранение, жилищно-коммунальное хозяйство, культура, физическая культура и спорт, социальные льготы и другие направления социальных гарантий населению) – </a:t>
            </a:r>
            <a:r>
              <a:rPr lang="ru-RU" sz="1800" b="1" dirty="0">
                <a:solidFill>
                  <a:schemeClr val="tx1"/>
                </a:solidFill>
              </a:rPr>
              <a:t>РАСХОДНАЯ</a:t>
            </a:r>
            <a:r>
              <a:rPr lang="ru-RU" sz="1800" dirty="0">
                <a:solidFill>
                  <a:schemeClr val="tx1"/>
                </a:solidFill>
              </a:rPr>
              <a:t> часть бюджета</a:t>
            </a:r>
            <a:endParaRPr lang="ru-RU" sz="1800" b="1" dirty="0"/>
          </a:p>
        </p:txBody>
      </p:sp>
      <p:sp>
        <p:nvSpPr>
          <p:cNvPr id="18" name="Выноска со стрелкой вниз 17"/>
          <p:cNvSpPr/>
          <p:nvPr/>
        </p:nvSpPr>
        <p:spPr>
          <a:xfrm>
            <a:off x="5143500" y="1500188"/>
            <a:ext cx="2357438" cy="1714500"/>
          </a:xfrm>
          <a:prstGeom prst="downArrowCallou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dirty="0">
                <a:solidFill>
                  <a:schemeClr val="tx1"/>
                </a:solidFill>
              </a:rPr>
              <a:t>Получатель социальных гаранти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19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5" name="Скругленный прямоугольник 4"/>
          <p:cNvSpPr/>
          <p:nvPr>
            <p:custDataLst>
              <p:tags r:id="rId1"/>
            </p:custDataLst>
          </p:nvPr>
        </p:nvSpPr>
        <p:spPr>
          <a:xfrm>
            <a:off x="488396" y="2032526"/>
            <a:ext cx="1895163" cy="1276630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>
            <p:custDataLst>
              <p:tags r:id="rId2"/>
            </p:custDataLst>
          </p:nvPr>
        </p:nvSpPr>
        <p:spPr>
          <a:xfrm>
            <a:off x="488397" y="2134737"/>
            <a:ext cx="189516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b="1" dirty="0" smtClean="0"/>
              <a:t>уличное освещение</a:t>
            </a:r>
            <a:endParaRPr lang="ru-RU" b="1" dirty="0"/>
          </a:p>
        </p:txBody>
      </p:sp>
      <p:sp>
        <p:nvSpPr>
          <p:cNvPr id="7" name="Скругленный прямоугольник 6"/>
          <p:cNvSpPr/>
          <p:nvPr>
            <p:custDataLst>
              <p:tags r:id="rId3"/>
            </p:custDataLst>
          </p:nvPr>
        </p:nvSpPr>
        <p:spPr>
          <a:xfrm>
            <a:off x="599919" y="2798705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1,2</a:t>
            </a:r>
            <a:endParaRPr lang="ru-RU" b="1" dirty="0"/>
          </a:p>
        </p:txBody>
      </p:sp>
      <p:sp>
        <p:nvSpPr>
          <p:cNvPr id="8" name="Скругленный прямоугольник 7"/>
          <p:cNvSpPr/>
          <p:nvPr>
            <p:custDataLst>
              <p:tags r:id="rId4"/>
            </p:custDataLst>
          </p:nvPr>
        </p:nvSpPr>
        <p:spPr>
          <a:xfrm>
            <a:off x="6516216" y="2035192"/>
            <a:ext cx="2232248" cy="1276630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>
            <p:custDataLst>
              <p:tags r:id="rId5"/>
            </p:custDataLst>
          </p:nvPr>
        </p:nvSpPr>
        <p:spPr>
          <a:xfrm>
            <a:off x="6516216" y="2054712"/>
            <a:ext cx="2376264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600" b="1" dirty="0" smtClean="0"/>
              <a:t>Реализация проектов на местные инициативы</a:t>
            </a:r>
            <a:endParaRPr lang="ru-RU" sz="1600" b="1" dirty="0"/>
          </a:p>
        </p:txBody>
      </p:sp>
      <p:sp>
        <p:nvSpPr>
          <p:cNvPr id="10" name="Скругленный прямоугольник 9"/>
          <p:cNvSpPr/>
          <p:nvPr>
            <p:custDataLst>
              <p:tags r:id="rId6"/>
            </p:custDataLst>
          </p:nvPr>
        </p:nvSpPr>
        <p:spPr>
          <a:xfrm>
            <a:off x="6804248" y="2774792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0,8</a:t>
            </a:r>
            <a:endParaRPr lang="ru-RU" b="1" dirty="0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51520" y="3714752"/>
            <a:ext cx="2132039" cy="1276630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251520" y="3714752"/>
            <a:ext cx="2088232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600" b="1" dirty="0" smtClean="0"/>
              <a:t>содержание  курортной зоны, города и </a:t>
            </a:r>
            <a:r>
              <a:rPr lang="ru-RU" sz="1600" b="1" dirty="0" err="1" smtClean="0"/>
              <a:t>гор.парка</a:t>
            </a:r>
            <a:endParaRPr lang="ru-RU" sz="1600" b="1" dirty="0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67544" y="4500570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9,1</a:t>
            </a:r>
            <a:endParaRPr lang="ru-RU" b="1" dirty="0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6562187" y="3643314"/>
            <a:ext cx="1895163" cy="1276630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6516216" y="3824188"/>
            <a:ext cx="1985360" cy="44416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300"/>
              </a:lnSpc>
            </a:pPr>
            <a:r>
              <a:rPr lang="ru-RU" b="1" dirty="0" smtClean="0"/>
              <a:t>Ручная уборка  города</a:t>
            </a:r>
            <a:endParaRPr lang="ru-RU" b="1" dirty="0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6673710" y="4424816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2,8</a:t>
            </a:r>
            <a:endParaRPr lang="ru-RU" b="1" dirty="0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3586330" y="4000504"/>
            <a:ext cx="1895163" cy="1276630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3563888" y="4000504"/>
            <a:ext cx="198536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600" b="1" dirty="0" smtClean="0"/>
              <a:t>мероприятия по благоустройству курортного парка</a:t>
            </a:r>
            <a:endParaRPr lang="ru-RU" sz="1600" b="1" dirty="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3697853" y="4786322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31,6</a:t>
            </a:r>
            <a:endParaRPr lang="ru-RU" b="1" dirty="0"/>
          </a:p>
        </p:txBody>
      </p:sp>
      <p:grpSp>
        <p:nvGrpSpPr>
          <p:cNvPr id="2" name="Группа 8"/>
          <p:cNvGrpSpPr/>
          <p:nvPr/>
        </p:nvGrpSpPr>
        <p:grpSpPr>
          <a:xfrm>
            <a:off x="3538461" y="2637354"/>
            <a:ext cx="1897635" cy="1025447"/>
            <a:chOff x="3280593" y="1837348"/>
            <a:chExt cx="2577739" cy="1392963"/>
          </a:xfrm>
        </p:grpSpPr>
        <p:sp>
          <p:nvSpPr>
            <p:cNvPr id="21" name="Скругленный прямоугольник 20"/>
            <p:cNvSpPr/>
            <p:nvPr>
              <p:custDataLst>
                <p:tags r:id="rId16"/>
              </p:custDataLst>
            </p:nvPr>
          </p:nvSpPr>
          <p:spPr>
            <a:xfrm>
              <a:off x="3280593" y="1837348"/>
              <a:ext cx="2577739" cy="1392963"/>
            </a:xfrm>
            <a:prstGeom prst="roundRect">
              <a:avLst>
                <a:gd name="adj" fmla="val 50000"/>
              </a:avLst>
            </a:prstGeom>
            <a:no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Скругленный прямоугольник 21"/>
            <p:cNvSpPr/>
            <p:nvPr>
              <p:custDataLst>
                <p:tags r:id="rId17"/>
              </p:custDataLst>
            </p:nvPr>
          </p:nvSpPr>
          <p:spPr>
            <a:xfrm>
              <a:off x="3429548" y="1984698"/>
              <a:ext cx="2289676" cy="1102442"/>
            </a:xfrm>
            <a:prstGeom prst="roundRect">
              <a:avLst>
                <a:gd name="adj" fmla="val 50000"/>
              </a:avLst>
            </a:prstGeom>
            <a:solidFill>
              <a:srgbClr val="B2870E"/>
            </a:solidFill>
            <a:ln>
              <a:noFill/>
            </a:ln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sz="2800" dirty="0" smtClean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ea typeface="Tahoma" pitchFamily="34" charset="0"/>
                  <a:cs typeface="Tahoma" pitchFamily="34" charset="0"/>
                </a:rPr>
                <a:t>238,0</a:t>
              </a:r>
              <a:endParaRPr lang="ru-RU" sz="2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a typeface="Tahoma" pitchFamily="34" charset="0"/>
                <a:cs typeface="Tahoma" pitchFamily="34" charset="0"/>
              </a:endParaRPr>
            </a:p>
          </p:txBody>
        </p:sp>
      </p:grpSp>
      <p:cxnSp>
        <p:nvCxnSpPr>
          <p:cNvPr id="23" name="Прямая соединительная линия 22"/>
          <p:cNvCxnSpPr/>
          <p:nvPr/>
        </p:nvCxnSpPr>
        <p:spPr>
          <a:xfrm rot="16200000" flipH="1">
            <a:off x="4451150" y="3808216"/>
            <a:ext cx="218172" cy="2353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2483888" y="2617973"/>
            <a:ext cx="1080000" cy="16575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 flipV="1">
            <a:off x="2519888" y="3566880"/>
            <a:ext cx="1044000" cy="919529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5364088" y="2634548"/>
            <a:ext cx="1080000" cy="16575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 flipH="1" flipV="1">
            <a:off x="5400208" y="3566880"/>
            <a:ext cx="1044000" cy="919529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Box 5"/>
          <p:cNvSpPr txBox="1">
            <a:spLocks noChangeArrowheads="1"/>
          </p:cNvSpPr>
          <p:nvPr/>
        </p:nvSpPr>
        <p:spPr bwMode="auto">
          <a:xfrm>
            <a:off x="7524328" y="1622664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30" name="Скругленный прямоугольник 29"/>
          <p:cNvSpPr/>
          <p:nvPr>
            <p:custDataLst>
              <p:tags r:id="rId7"/>
            </p:custDataLst>
          </p:nvPr>
        </p:nvSpPr>
        <p:spPr>
          <a:xfrm>
            <a:off x="3563888" y="1478648"/>
            <a:ext cx="1895163" cy="1060606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Скругленный прямоугольник 30"/>
          <p:cNvSpPr/>
          <p:nvPr>
            <p:custDataLst>
              <p:tags r:id="rId8"/>
            </p:custDataLst>
          </p:nvPr>
        </p:nvSpPr>
        <p:spPr>
          <a:xfrm>
            <a:off x="2748275" y="5357826"/>
            <a:ext cx="1895163" cy="1276630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Скругленный прямоугольник 31"/>
          <p:cNvSpPr/>
          <p:nvPr>
            <p:custDataLst>
              <p:tags r:id="rId9"/>
            </p:custDataLst>
          </p:nvPr>
        </p:nvSpPr>
        <p:spPr>
          <a:xfrm>
            <a:off x="4858322" y="5295642"/>
            <a:ext cx="1895163" cy="1276630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кругленный прямоугольник 32"/>
          <p:cNvSpPr/>
          <p:nvPr>
            <p:custDataLst>
              <p:tags r:id="rId10"/>
            </p:custDataLst>
          </p:nvPr>
        </p:nvSpPr>
        <p:spPr>
          <a:xfrm>
            <a:off x="3707904" y="2054712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33,1</a:t>
            </a:r>
            <a:endParaRPr lang="ru-RU" b="1" dirty="0"/>
          </a:p>
        </p:txBody>
      </p:sp>
      <p:sp>
        <p:nvSpPr>
          <p:cNvPr id="34" name="Скругленный прямоугольник 33"/>
          <p:cNvSpPr/>
          <p:nvPr>
            <p:custDataLst>
              <p:tags r:id="rId11"/>
            </p:custDataLst>
          </p:nvPr>
        </p:nvSpPr>
        <p:spPr>
          <a:xfrm>
            <a:off x="2850847" y="6159168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05,3</a:t>
            </a:r>
            <a:endParaRPr lang="ru-RU" b="1" dirty="0"/>
          </a:p>
        </p:txBody>
      </p:sp>
      <p:sp>
        <p:nvSpPr>
          <p:cNvPr id="35" name="Скругленный прямоугольник 34"/>
          <p:cNvSpPr/>
          <p:nvPr>
            <p:custDataLst>
              <p:tags r:id="rId12"/>
            </p:custDataLst>
          </p:nvPr>
        </p:nvSpPr>
        <p:spPr>
          <a:xfrm>
            <a:off x="4930330" y="6087730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31,9</a:t>
            </a:r>
            <a:endParaRPr lang="ru-RU" b="1" dirty="0"/>
          </a:p>
        </p:txBody>
      </p:sp>
      <p:sp>
        <p:nvSpPr>
          <p:cNvPr id="36" name="Прямоугольник 35"/>
          <p:cNvSpPr/>
          <p:nvPr>
            <p:custDataLst>
              <p:tags r:id="rId13"/>
            </p:custDataLst>
          </p:nvPr>
        </p:nvSpPr>
        <p:spPr>
          <a:xfrm>
            <a:off x="3563888" y="1478647"/>
            <a:ext cx="2016224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Развитие курортной инфраструктуры</a:t>
            </a:r>
            <a:endParaRPr lang="ru-RU" sz="1400" b="1" dirty="0"/>
          </a:p>
        </p:txBody>
      </p:sp>
      <p:sp>
        <p:nvSpPr>
          <p:cNvPr id="37" name="Прямоугольник 36"/>
          <p:cNvSpPr/>
          <p:nvPr>
            <p:custDataLst>
              <p:tags r:id="rId14"/>
            </p:custDataLst>
          </p:nvPr>
        </p:nvSpPr>
        <p:spPr>
          <a:xfrm>
            <a:off x="2698652" y="5395681"/>
            <a:ext cx="2016224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600" b="1" dirty="0" smtClean="0"/>
              <a:t>Формирование современной городской среды</a:t>
            </a:r>
            <a:endParaRPr lang="ru-RU" sz="1600" b="1" dirty="0"/>
          </a:p>
        </p:txBody>
      </p:sp>
      <p:sp>
        <p:nvSpPr>
          <p:cNvPr id="38" name="Прямоугольник 37"/>
          <p:cNvSpPr/>
          <p:nvPr>
            <p:custDataLst>
              <p:tags r:id="rId15"/>
            </p:custDataLst>
          </p:nvPr>
        </p:nvSpPr>
        <p:spPr>
          <a:xfrm>
            <a:off x="4786314" y="5295642"/>
            <a:ext cx="2016224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Благоустройство нижней каскадной лестницы</a:t>
            </a:r>
            <a:endParaRPr lang="ru-RU" sz="1400" b="1" dirty="0"/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 flipV="1">
            <a:off x="3059832" y="3638888"/>
            <a:ext cx="648072" cy="157579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 flipH="1" flipV="1">
            <a:off x="5220072" y="3710896"/>
            <a:ext cx="1008112" cy="1512168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AutoShape 2"/>
          <p:cNvSpPr>
            <a:spLocks noChangeArrowheads="1"/>
          </p:cNvSpPr>
          <p:nvPr/>
        </p:nvSpPr>
        <p:spPr bwMode="auto">
          <a:xfrm>
            <a:off x="1285852" y="142852"/>
            <a:ext cx="7429552" cy="928694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Благоустройство </a:t>
            </a:r>
            <a:b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</a:b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 города-курорта Железноводска на 2019 год </a:t>
            </a:r>
            <a:endParaRPr lang="ru-RU" sz="2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  <p:pic>
        <p:nvPicPr>
          <p:cNvPr id="43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4754" name="Picture 2" descr="Ð±Ð»Ð°Ð³Ð¾ÑÑÑÑÐ¾Ð¹ÑÑÐ²Ð¾"/>
          <p:cNvPicPr>
            <a:picLocks noChangeAspect="1" noChangeArrowheads="1"/>
          </p:cNvPicPr>
          <p:nvPr/>
        </p:nvPicPr>
        <p:blipFill>
          <a:blip r:embed="rId21"/>
          <a:srcRect/>
          <a:stretch>
            <a:fillRect/>
          </a:stretch>
        </p:blipFill>
        <p:spPr bwMode="auto">
          <a:xfrm>
            <a:off x="6800884" y="4998384"/>
            <a:ext cx="2343116" cy="1859616"/>
          </a:xfrm>
          <a:prstGeom prst="rect">
            <a:avLst/>
          </a:prstGeom>
          <a:noFill/>
        </p:spPr>
      </p:pic>
      <p:pic>
        <p:nvPicPr>
          <p:cNvPr id="49" name="Рисунок 48" descr="http://images.pobeda26.ru/images_new/images/a/4/2/0/c/0/b/4/5/5/a420c0b455a5aae6d665c5e99167f4f4.jpg"/>
          <p:cNvPicPr/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1" y="5000636"/>
            <a:ext cx="2714611" cy="1857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6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5" name="Скругленный прямоугольник 4"/>
          <p:cNvSpPr/>
          <p:nvPr>
            <p:custDataLst>
              <p:tags r:id="rId1"/>
            </p:custDataLst>
          </p:nvPr>
        </p:nvSpPr>
        <p:spPr>
          <a:xfrm>
            <a:off x="395536" y="3645024"/>
            <a:ext cx="3456384" cy="1008112"/>
          </a:xfrm>
          <a:prstGeom prst="roundRect">
            <a:avLst>
              <a:gd name="adj" fmla="val 20277"/>
            </a:avLst>
          </a:prstGeom>
          <a:solidFill>
            <a:srgbClr val="C6D9F1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Скругленный прямоугольник 5"/>
          <p:cNvSpPr/>
          <p:nvPr>
            <p:custDataLst>
              <p:tags r:id="rId2"/>
            </p:custDataLst>
          </p:nvPr>
        </p:nvSpPr>
        <p:spPr>
          <a:xfrm>
            <a:off x="1460741" y="1340768"/>
            <a:ext cx="1440160" cy="417313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8 год</a:t>
            </a:r>
          </a:p>
        </p:txBody>
      </p:sp>
      <p:sp>
        <p:nvSpPr>
          <p:cNvPr id="7" name="Скругленный прямоугольник 6"/>
          <p:cNvSpPr/>
          <p:nvPr>
            <p:custDataLst>
              <p:tags r:id="rId3"/>
            </p:custDataLst>
          </p:nvPr>
        </p:nvSpPr>
        <p:spPr>
          <a:xfrm>
            <a:off x="1137259" y="1844824"/>
            <a:ext cx="2160240" cy="360000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8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600" b="1" dirty="0" smtClean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>
            <p:custDataLst>
              <p:tags r:id="rId4"/>
            </p:custDataLst>
          </p:nvPr>
        </p:nvCxnSpPr>
        <p:spPr>
          <a:xfrm>
            <a:off x="2123728" y="2276872"/>
            <a:ext cx="0" cy="144016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Скругленный прямоугольник 8"/>
          <p:cNvSpPr/>
          <p:nvPr>
            <p:custDataLst>
              <p:tags r:id="rId5"/>
            </p:custDataLst>
          </p:nvPr>
        </p:nvSpPr>
        <p:spPr>
          <a:xfrm>
            <a:off x="1331640" y="2492896"/>
            <a:ext cx="1512168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31,3</a:t>
            </a:r>
          </a:p>
        </p:txBody>
      </p:sp>
      <p:sp>
        <p:nvSpPr>
          <p:cNvPr id="10" name="Скругленный прямоугольник 9"/>
          <p:cNvSpPr/>
          <p:nvPr>
            <p:custDataLst>
              <p:tags r:id="rId6"/>
            </p:custDataLst>
          </p:nvPr>
        </p:nvSpPr>
        <p:spPr>
          <a:xfrm>
            <a:off x="467544" y="3861048"/>
            <a:ext cx="1453479" cy="648072"/>
          </a:xfrm>
          <a:prstGeom prst="roundRect">
            <a:avLst>
              <a:gd name="adj" fmla="val 50000"/>
            </a:avLst>
          </a:prstGeom>
          <a:solidFill>
            <a:srgbClr val="FFFF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1,6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Скругленный прямоугольник 10"/>
          <p:cNvSpPr/>
          <p:nvPr>
            <p:custDataLst>
              <p:tags r:id="rId7"/>
            </p:custDataLst>
          </p:nvPr>
        </p:nvSpPr>
        <p:spPr>
          <a:xfrm>
            <a:off x="2267744" y="3861048"/>
            <a:ext cx="1414069" cy="616034"/>
          </a:xfrm>
          <a:prstGeom prst="roundRect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9,7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Скругленный прямоугольник 11"/>
          <p:cNvSpPr/>
          <p:nvPr>
            <p:custDataLst>
              <p:tags r:id="rId8"/>
            </p:custDataLst>
          </p:nvPr>
        </p:nvSpPr>
        <p:spPr>
          <a:xfrm>
            <a:off x="6185663" y="1346783"/>
            <a:ext cx="1440160" cy="417313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9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д</a:t>
            </a:r>
          </a:p>
        </p:txBody>
      </p:sp>
      <p:sp>
        <p:nvSpPr>
          <p:cNvPr id="13" name="Скругленный прямоугольник 12"/>
          <p:cNvSpPr/>
          <p:nvPr>
            <p:custDataLst>
              <p:tags r:id="rId9"/>
            </p:custDataLst>
          </p:nvPr>
        </p:nvSpPr>
        <p:spPr>
          <a:xfrm>
            <a:off x="5825623" y="1850839"/>
            <a:ext cx="2160240" cy="360000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30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4" name="Прямая соединительная линия 13"/>
          <p:cNvCxnSpPr/>
          <p:nvPr>
            <p:custDataLst>
              <p:tags r:id="rId10"/>
            </p:custDataLst>
          </p:nvPr>
        </p:nvCxnSpPr>
        <p:spPr>
          <a:xfrm>
            <a:off x="6948264" y="2276872"/>
            <a:ext cx="0" cy="152562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>
            <p:custDataLst>
              <p:tags r:id="rId11"/>
            </p:custDataLst>
          </p:nvPr>
        </p:nvCxnSpPr>
        <p:spPr>
          <a:xfrm>
            <a:off x="6185663" y="2274341"/>
            <a:ext cx="0" cy="152562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4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3829373" y="2496511"/>
            <a:ext cx="1446175" cy="143894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38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539552" y="2996952"/>
            <a:ext cx="1524000" cy="806921"/>
          </a:xfrm>
          <a:prstGeom prst="rect">
            <a:avLst/>
          </a:prstGeom>
          <a:noFill/>
        </p:spPr>
      </p:pic>
      <p:pic>
        <p:nvPicPr>
          <p:cNvPr id="18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38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267744" y="2996952"/>
            <a:ext cx="1524000" cy="806921"/>
          </a:xfrm>
          <a:prstGeom prst="rect">
            <a:avLst/>
          </a:prstGeom>
          <a:noFill/>
        </p:spPr>
      </p:pic>
      <p:pic>
        <p:nvPicPr>
          <p:cNvPr id="19" name="Picture 12" descr="https://static.tildacdn.com/tild3761-3931-4332-b130-373233326264/mzlafnqvhfl.png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39" cstate="print">
            <a:clrChange>
              <a:clrFrom>
                <a:srgbClr val="FEFDFA"/>
              </a:clrFrom>
              <a:clrTo>
                <a:srgbClr val="FEFDFA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lum/>
          </a:blip>
          <a:srcRect/>
          <a:stretch>
            <a:fillRect/>
          </a:stretch>
        </p:blipFill>
        <p:spPr bwMode="auto">
          <a:xfrm>
            <a:off x="3428992" y="4903664"/>
            <a:ext cx="1728192" cy="1728192"/>
          </a:xfrm>
          <a:prstGeom prst="rect">
            <a:avLst/>
          </a:prstGeom>
          <a:noFill/>
        </p:spPr>
      </p:pic>
      <p:pic>
        <p:nvPicPr>
          <p:cNvPr id="20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38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470750" y="4889412"/>
            <a:ext cx="1524000" cy="645653"/>
          </a:xfrm>
          <a:prstGeom prst="rect">
            <a:avLst/>
          </a:prstGeom>
          <a:noFill/>
        </p:spPr>
      </p:pic>
      <p:grpSp>
        <p:nvGrpSpPr>
          <p:cNvPr id="21" name="Группа 46"/>
          <p:cNvGrpSpPr/>
          <p:nvPr>
            <p:custDataLst>
              <p:tags r:id="rId17"/>
            </p:custDataLst>
          </p:nvPr>
        </p:nvGrpSpPr>
        <p:grpSpPr>
          <a:xfrm>
            <a:off x="179512" y="5013176"/>
            <a:ext cx="2386176" cy="467436"/>
            <a:chOff x="537999" y="5954425"/>
            <a:chExt cx="2386176" cy="467436"/>
          </a:xfrm>
        </p:grpSpPr>
        <p:sp>
          <p:nvSpPr>
            <p:cNvPr id="22" name="Овал 21"/>
            <p:cNvSpPr/>
            <p:nvPr>
              <p:custDataLst>
                <p:tags r:id="rId33"/>
              </p:custDataLst>
            </p:nvPr>
          </p:nvSpPr>
          <p:spPr>
            <a:xfrm>
              <a:off x="537999" y="5989814"/>
              <a:ext cx="320425" cy="32128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3" name="TextBox 22"/>
            <p:cNvSpPr txBox="1"/>
            <p:nvPr>
              <p:custDataLst>
                <p:tags r:id="rId34"/>
              </p:custDataLst>
            </p:nvPr>
          </p:nvSpPr>
          <p:spPr>
            <a:xfrm>
              <a:off x="875118" y="5954425"/>
              <a:ext cx="2049057" cy="4674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4" name="Группа 52"/>
          <p:cNvGrpSpPr/>
          <p:nvPr>
            <p:custDataLst>
              <p:tags r:id="rId18"/>
            </p:custDataLst>
          </p:nvPr>
        </p:nvGrpSpPr>
        <p:grpSpPr>
          <a:xfrm>
            <a:off x="2267744" y="5013176"/>
            <a:ext cx="2386176" cy="467436"/>
            <a:chOff x="537999" y="5954425"/>
            <a:chExt cx="2386176" cy="467436"/>
          </a:xfrm>
        </p:grpSpPr>
        <p:sp>
          <p:nvSpPr>
            <p:cNvPr id="25" name="Овал 24"/>
            <p:cNvSpPr/>
            <p:nvPr>
              <p:custDataLst>
                <p:tags r:id="rId31"/>
              </p:custDataLst>
            </p:nvPr>
          </p:nvSpPr>
          <p:spPr>
            <a:xfrm>
              <a:off x="537999" y="5989814"/>
              <a:ext cx="320425" cy="321284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6" name="TextBox 25"/>
            <p:cNvSpPr txBox="1"/>
            <p:nvPr>
              <p:custDataLst>
                <p:tags r:id="rId32"/>
              </p:custDataLst>
            </p:nvPr>
          </p:nvSpPr>
          <p:spPr>
            <a:xfrm>
              <a:off x="875118" y="5954425"/>
              <a:ext cx="2049057" cy="4674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7" name="Скругленный прямоугольник 26"/>
          <p:cNvSpPr/>
          <p:nvPr>
            <p:custDataLst>
              <p:tags r:id="rId19"/>
            </p:custDataLst>
          </p:nvPr>
        </p:nvSpPr>
        <p:spPr>
          <a:xfrm>
            <a:off x="5220072" y="3573016"/>
            <a:ext cx="3456384" cy="1008112"/>
          </a:xfrm>
          <a:prstGeom prst="roundRect">
            <a:avLst>
              <a:gd name="adj" fmla="val 20277"/>
            </a:avLst>
          </a:prstGeom>
          <a:solidFill>
            <a:srgbClr val="C6D9F1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Скругленный прямоугольник 27"/>
          <p:cNvSpPr/>
          <p:nvPr>
            <p:custDataLst>
              <p:tags r:id="rId20"/>
            </p:custDataLst>
          </p:nvPr>
        </p:nvSpPr>
        <p:spPr>
          <a:xfrm>
            <a:off x="6156176" y="2492896"/>
            <a:ext cx="1512168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0,0</a:t>
            </a:r>
          </a:p>
        </p:txBody>
      </p:sp>
      <p:sp>
        <p:nvSpPr>
          <p:cNvPr id="29" name="Скругленный прямоугольник 28"/>
          <p:cNvSpPr/>
          <p:nvPr>
            <p:custDataLst>
              <p:tags r:id="rId21"/>
            </p:custDataLst>
          </p:nvPr>
        </p:nvSpPr>
        <p:spPr>
          <a:xfrm>
            <a:off x="5292080" y="3861048"/>
            <a:ext cx="1453479" cy="648072"/>
          </a:xfrm>
          <a:prstGeom prst="roundRect">
            <a:avLst>
              <a:gd name="adj" fmla="val 50000"/>
            </a:avLst>
          </a:prstGeom>
          <a:solidFill>
            <a:srgbClr val="FFFF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1,0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30" name="Скругленный прямоугольник 29"/>
          <p:cNvSpPr/>
          <p:nvPr>
            <p:custDataLst>
              <p:tags r:id="rId22"/>
            </p:custDataLst>
          </p:nvPr>
        </p:nvSpPr>
        <p:spPr>
          <a:xfrm>
            <a:off x="7092280" y="3861048"/>
            <a:ext cx="1414069" cy="616034"/>
          </a:xfrm>
          <a:prstGeom prst="roundRect">
            <a:avLst>
              <a:gd name="adj" fmla="val 50000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19,0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31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38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5364088" y="2924944"/>
            <a:ext cx="1524000" cy="806921"/>
          </a:xfrm>
          <a:prstGeom prst="rect">
            <a:avLst/>
          </a:prstGeom>
          <a:noFill/>
        </p:spPr>
      </p:pic>
      <p:pic>
        <p:nvPicPr>
          <p:cNvPr id="32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38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092280" y="2924944"/>
            <a:ext cx="1524000" cy="806921"/>
          </a:xfrm>
          <a:prstGeom prst="rect">
            <a:avLst/>
          </a:prstGeom>
          <a:noFill/>
        </p:spPr>
      </p:pic>
      <p:grpSp>
        <p:nvGrpSpPr>
          <p:cNvPr id="33" name="Группа 73"/>
          <p:cNvGrpSpPr/>
          <p:nvPr>
            <p:custDataLst>
              <p:tags r:id="rId25"/>
            </p:custDataLst>
          </p:nvPr>
        </p:nvGrpSpPr>
        <p:grpSpPr>
          <a:xfrm>
            <a:off x="5004048" y="5013176"/>
            <a:ext cx="2386176" cy="467436"/>
            <a:chOff x="537999" y="5954425"/>
            <a:chExt cx="2386176" cy="467436"/>
          </a:xfrm>
        </p:grpSpPr>
        <p:sp>
          <p:nvSpPr>
            <p:cNvPr id="34" name="Овал 33"/>
            <p:cNvSpPr/>
            <p:nvPr>
              <p:custDataLst>
                <p:tags r:id="rId29"/>
              </p:custDataLst>
            </p:nvPr>
          </p:nvSpPr>
          <p:spPr>
            <a:xfrm>
              <a:off x="537999" y="5989814"/>
              <a:ext cx="320425" cy="32128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5" name="TextBox 34"/>
            <p:cNvSpPr txBox="1"/>
            <p:nvPr>
              <p:custDataLst>
                <p:tags r:id="rId30"/>
              </p:custDataLst>
            </p:nvPr>
          </p:nvSpPr>
          <p:spPr>
            <a:xfrm>
              <a:off x="875118" y="5954425"/>
              <a:ext cx="2049057" cy="4674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36" name="Группа 76"/>
          <p:cNvGrpSpPr/>
          <p:nvPr>
            <p:custDataLst>
              <p:tags r:id="rId26"/>
            </p:custDataLst>
          </p:nvPr>
        </p:nvGrpSpPr>
        <p:grpSpPr>
          <a:xfrm>
            <a:off x="7092280" y="5013176"/>
            <a:ext cx="2386176" cy="467436"/>
            <a:chOff x="537999" y="5954425"/>
            <a:chExt cx="2386176" cy="467436"/>
          </a:xfrm>
        </p:grpSpPr>
        <p:sp>
          <p:nvSpPr>
            <p:cNvPr id="37" name="Овал 36"/>
            <p:cNvSpPr/>
            <p:nvPr>
              <p:custDataLst>
                <p:tags r:id="rId27"/>
              </p:custDataLst>
            </p:nvPr>
          </p:nvSpPr>
          <p:spPr>
            <a:xfrm>
              <a:off x="537999" y="5989814"/>
              <a:ext cx="320425" cy="321284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8" name="TextBox 37"/>
            <p:cNvSpPr txBox="1"/>
            <p:nvPr>
              <p:custDataLst>
                <p:tags r:id="rId28"/>
              </p:custDataLst>
            </p:nvPr>
          </p:nvSpPr>
          <p:spPr>
            <a:xfrm>
              <a:off x="875118" y="5954425"/>
              <a:ext cx="2049057" cy="4674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39" name="Text Box 5"/>
          <p:cNvSpPr txBox="1">
            <a:spLocks noChangeArrowheads="1"/>
          </p:cNvSpPr>
          <p:nvPr/>
        </p:nvSpPr>
        <p:spPr bwMode="auto">
          <a:xfrm>
            <a:off x="7596336" y="1196752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pic>
        <p:nvPicPr>
          <p:cNvPr id="42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0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" name="AutoShape 2"/>
          <p:cNvSpPr>
            <a:spLocks noChangeArrowheads="1"/>
          </p:cNvSpPr>
          <p:nvPr/>
        </p:nvSpPr>
        <p:spPr bwMode="auto">
          <a:xfrm>
            <a:off x="1285852" y="142852"/>
            <a:ext cx="7429552" cy="928694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lvl="0" algn="ctr">
              <a:defRPr/>
            </a:pPr>
            <a:r>
              <a:rPr lang="ru-RU" altLang="ru-RU" sz="2400" b="1" dirty="0" smtClean="0">
                <a:solidFill>
                  <a:schemeClr val="bg1"/>
                </a:solidFill>
                <a:cs typeface="Times New Roman" pitchFamily="18" charset="0"/>
              </a:rPr>
              <a:t>Обеспечение жильем молодых семей</a:t>
            </a: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/>
            </a:r>
            <a:b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</a:b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 города-курорта Железноводска</a:t>
            </a:r>
            <a:endParaRPr lang="ru-RU" sz="2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5" name="Скругленный прямоугольник 4"/>
          <p:cNvSpPr/>
          <p:nvPr>
            <p:custDataLst>
              <p:tags r:id="rId1"/>
            </p:custDataLst>
          </p:nvPr>
        </p:nvSpPr>
        <p:spPr>
          <a:xfrm>
            <a:off x="428564" y="2943754"/>
            <a:ext cx="8715436" cy="684000"/>
          </a:xfrm>
          <a:prstGeom prst="roundRect">
            <a:avLst>
              <a:gd name="adj" fmla="val 50000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wrap="none" lIns="864000" tIns="144000" anchor="ctr"/>
          <a:lstStyle/>
          <a:p>
            <a:pPr>
              <a:lnSpc>
                <a:spcPts val="1400"/>
              </a:lnSpc>
              <a:defRPr/>
            </a:pPr>
            <a:r>
              <a:rPr lang="ru-RU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«Культурная среда»</a:t>
            </a:r>
            <a:endParaRPr lang="ru-RU" sz="24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285720" y="2872316"/>
            <a:ext cx="864096" cy="864096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60325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</p:spPr>
        <p:txBody>
          <a:bodyPr wrap="none" lIns="864000" tIns="144000" anchor="ctr"/>
          <a:lstStyle/>
          <a:p>
            <a:pPr>
              <a:lnSpc>
                <a:spcPts val="1400"/>
              </a:lnSpc>
            </a:pPr>
            <a:endParaRPr lang="ru-RU" sz="2400" b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" name="Скругленный прямоугольник 6"/>
          <p:cNvSpPr/>
          <p:nvPr>
            <p:custDataLst>
              <p:tags r:id="rId2"/>
            </p:custDataLst>
          </p:nvPr>
        </p:nvSpPr>
        <p:spPr>
          <a:xfrm>
            <a:off x="285720" y="3943886"/>
            <a:ext cx="8858280" cy="684000"/>
          </a:xfrm>
          <a:prstGeom prst="roundRect">
            <a:avLst>
              <a:gd name="adj" fmla="val 50000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wrap="none" lIns="864000" tIns="144000" anchor="ctr"/>
          <a:lstStyle/>
          <a:p>
            <a:pPr>
              <a:lnSpc>
                <a:spcPts val="1400"/>
              </a:lnSpc>
              <a:defRPr/>
            </a:pPr>
            <a:r>
              <a:rPr lang="ru-RU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«Творческие люди»</a:t>
            </a:r>
            <a:endParaRPr lang="ru-RU" sz="24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" name="Скругленный прямоугольник 7"/>
          <p:cNvSpPr/>
          <p:nvPr>
            <p:custDataLst>
              <p:tags r:id="rId3"/>
            </p:custDataLst>
          </p:nvPr>
        </p:nvSpPr>
        <p:spPr>
          <a:xfrm>
            <a:off x="285720" y="4944018"/>
            <a:ext cx="8858280" cy="684000"/>
          </a:xfrm>
          <a:prstGeom prst="roundRect">
            <a:avLst>
              <a:gd name="adj" fmla="val 50000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wrap="none" lIns="864000" tIns="144000" anchor="ctr"/>
          <a:lstStyle/>
          <a:p>
            <a:pPr>
              <a:lnSpc>
                <a:spcPts val="1400"/>
              </a:lnSpc>
              <a:defRPr/>
            </a:pPr>
            <a:r>
              <a:rPr lang="ru-RU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«Спорт – норма жизни»</a:t>
            </a:r>
            <a:endParaRPr lang="ru-RU" sz="2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9" name="Скругленный прямоугольник 8"/>
          <p:cNvSpPr/>
          <p:nvPr>
            <p:custDataLst>
              <p:tags r:id="rId4"/>
            </p:custDataLst>
          </p:nvPr>
        </p:nvSpPr>
        <p:spPr>
          <a:xfrm>
            <a:off x="357158" y="5974506"/>
            <a:ext cx="8786842" cy="684000"/>
          </a:xfrm>
          <a:prstGeom prst="roundRect">
            <a:avLst>
              <a:gd name="adj" fmla="val 50000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wrap="none" lIns="864000" tIns="144000" anchor="ctr"/>
          <a:lstStyle/>
          <a:p>
            <a:pPr>
              <a:lnSpc>
                <a:spcPts val="1400"/>
              </a:lnSpc>
              <a:defRPr/>
            </a:pPr>
            <a:r>
              <a:rPr lang="ru-RU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«Формирование </a:t>
            </a:r>
          </a:p>
          <a:p>
            <a:pPr>
              <a:lnSpc>
                <a:spcPts val="1400"/>
              </a:lnSpc>
              <a:defRPr/>
            </a:pPr>
            <a:r>
              <a:rPr lang="ru-RU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комфортной  </a:t>
            </a:r>
          </a:p>
          <a:p>
            <a:pPr>
              <a:lnSpc>
                <a:spcPts val="1400"/>
              </a:lnSpc>
              <a:defRPr/>
            </a:pPr>
            <a:r>
              <a:rPr lang="ru-RU" sz="2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городской среды»</a:t>
            </a:r>
            <a:endParaRPr lang="ru-RU" sz="2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357158" y="3872448"/>
            <a:ext cx="785818" cy="792658"/>
          </a:xfrm>
          <a:prstGeom prst="ellipse">
            <a:avLst/>
          </a:prstGeom>
          <a:solidFill>
            <a:srgbClr val="C2D7F0"/>
          </a:solidFill>
          <a:ln w="60325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</p:spPr>
        <p:txBody>
          <a:bodyPr wrap="none" lIns="864000" tIns="144000" anchor="ctr"/>
          <a:lstStyle/>
          <a:p>
            <a:pPr>
              <a:lnSpc>
                <a:spcPts val="1400"/>
              </a:lnSpc>
            </a:pPr>
            <a:endParaRPr lang="ru-RU" sz="2400" b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285720" y="4801142"/>
            <a:ext cx="864096" cy="864096"/>
          </a:xfrm>
          <a:prstGeom prst="ellipse">
            <a:avLst/>
          </a:prstGeom>
          <a:solidFill>
            <a:srgbClr val="C2D7F0"/>
          </a:solidFill>
          <a:ln w="60325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</p:spPr>
        <p:txBody>
          <a:bodyPr wrap="none" lIns="864000" tIns="144000" anchor="ctr"/>
          <a:lstStyle/>
          <a:p>
            <a:pPr>
              <a:lnSpc>
                <a:spcPts val="1400"/>
              </a:lnSpc>
            </a:pPr>
            <a:endParaRPr lang="ru-RU" sz="2400" b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285720" y="5794410"/>
            <a:ext cx="864096" cy="864096"/>
          </a:xfrm>
          <a:prstGeom prst="ellipse">
            <a:avLst/>
          </a:prstGeom>
          <a:solidFill>
            <a:srgbClr val="C2D7F0"/>
          </a:solidFill>
          <a:ln w="60325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</p:spPr>
        <p:txBody>
          <a:bodyPr wrap="none" lIns="864000" tIns="144000" anchor="ctr"/>
          <a:lstStyle/>
          <a:p>
            <a:pPr>
              <a:lnSpc>
                <a:spcPts val="1400"/>
              </a:lnSpc>
            </a:pPr>
            <a:endParaRPr lang="ru-RU" sz="2400" b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3" name="Пятиугольник 12"/>
          <p:cNvSpPr/>
          <p:nvPr/>
        </p:nvSpPr>
        <p:spPr>
          <a:xfrm>
            <a:off x="4429124" y="2943754"/>
            <a:ext cx="1714512" cy="642942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,5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4" name="Пятиугольник 13"/>
          <p:cNvSpPr/>
          <p:nvPr/>
        </p:nvSpPr>
        <p:spPr>
          <a:xfrm>
            <a:off x="4429124" y="3943886"/>
            <a:ext cx="1714512" cy="642942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41,3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" name="Пятиугольник 14"/>
          <p:cNvSpPr/>
          <p:nvPr/>
        </p:nvSpPr>
        <p:spPr>
          <a:xfrm>
            <a:off x="4429124" y="4944018"/>
            <a:ext cx="1714512" cy="642942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52,6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6" name="Пятиугольник 15"/>
          <p:cNvSpPr/>
          <p:nvPr/>
        </p:nvSpPr>
        <p:spPr>
          <a:xfrm>
            <a:off x="4429124" y="6015564"/>
            <a:ext cx="1714512" cy="642942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05,3 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7" name="Пятиугольник 16"/>
          <p:cNvSpPr/>
          <p:nvPr/>
        </p:nvSpPr>
        <p:spPr>
          <a:xfrm>
            <a:off x="6215074" y="3015192"/>
            <a:ext cx="857256" cy="428628"/>
          </a:xfrm>
          <a:prstGeom prst="homePlate">
            <a:avLst/>
          </a:prstGeom>
          <a:gradFill>
            <a:gsLst>
              <a:gs pos="0">
                <a:srgbClr val="FFFF66"/>
              </a:gs>
              <a:gs pos="50000">
                <a:srgbClr val="FFFFCC"/>
              </a:gs>
              <a:gs pos="100000">
                <a:srgbClr val="FFFF66"/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7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8" name="Пятиугольник 17"/>
          <p:cNvSpPr/>
          <p:nvPr/>
        </p:nvSpPr>
        <p:spPr>
          <a:xfrm>
            <a:off x="6143636" y="4015324"/>
            <a:ext cx="857256" cy="428628"/>
          </a:xfrm>
          <a:prstGeom prst="homePlate">
            <a:avLst/>
          </a:prstGeom>
          <a:gradFill>
            <a:gsLst>
              <a:gs pos="0">
                <a:srgbClr val="FFFF66"/>
              </a:gs>
              <a:gs pos="50000">
                <a:srgbClr val="FFFFCC"/>
              </a:gs>
              <a:gs pos="100000">
                <a:srgbClr val="FFFF66"/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9" name="Пятиугольник 18"/>
          <p:cNvSpPr/>
          <p:nvPr/>
        </p:nvSpPr>
        <p:spPr>
          <a:xfrm>
            <a:off x="6215074" y="5086894"/>
            <a:ext cx="857256" cy="428628"/>
          </a:xfrm>
          <a:prstGeom prst="homePlate">
            <a:avLst/>
          </a:prstGeom>
          <a:gradFill>
            <a:gsLst>
              <a:gs pos="0">
                <a:srgbClr val="FFFF66"/>
              </a:gs>
              <a:gs pos="50000">
                <a:srgbClr val="FFFFCC"/>
              </a:gs>
              <a:gs pos="100000">
                <a:srgbClr val="FFFF66"/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6215074" y="6087026"/>
            <a:ext cx="857256" cy="428628"/>
          </a:xfrm>
          <a:prstGeom prst="homePlate">
            <a:avLst/>
          </a:prstGeom>
          <a:gradFill>
            <a:gsLst>
              <a:gs pos="0">
                <a:srgbClr val="FFFF66"/>
              </a:gs>
              <a:gs pos="50000">
                <a:srgbClr val="FFFFCC"/>
              </a:gs>
              <a:gs pos="100000">
                <a:srgbClr val="FFFF66"/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5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1" name="Овал 20"/>
          <p:cNvSpPr/>
          <p:nvPr/>
        </p:nvSpPr>
        <p:spPr>
          <a:xfrm>
            <a:off x="8358214" y="2372250"/>
            <a:ext cx="45719" cy="4571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/>
          <p:cNvSpPr/>
          <p:nvPr/>
        </p:nvSpPr>
        <p:spPr>
          <a:xfrm>
            <a:off x="7072330" y="2943754"/>
            <a:ext cx="1857388" cy="642942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2</a:t>
            </a:r>
          </a:p>
        </p:txBody>
      </p:sp>
      <p:sp>
        <p:nvSpPr>
          <p:cNvPr id="23" name="Овал 22"/>
          <p:cNvSpPr/>
          <p:nvPr/>
        </p:nvSpPr>
        <p:spPr>
          <a:xfrm>
            <a:off x="7072330" y="3943886"/>
            <a:ext cx="1857388" cy="642942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0</a:t>
            </a:r>
          </a:p>
        </p:txBody>
      </p:sp>
      <p:sp>
        <p:nvSpPr>
          <p:cNvPr id="24" name="Овал 23"/>
          <p:cNvSpPr/>
          <p:nvPr/>
        </p:nvSpPr>
        <p:spPr>
          <a:xfrm>
            <a:off x="7143768" y="4944018"/>
            <a:ext cx="1857388" cy="642942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,6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5" name="Овал 24"/>
          <p:cNvSpPr/>
          <p:nvPr/>
        </p:nvSpPr>
        <p:spPr>
          <a:xfrm>
            <a:off x="7143768" y="6015564"/>
            <a:ext cx="1857388" cy="642942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5,3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6" name="Пятиугольник 25"/>
          <p:cNvSpPr/>
          <p:nvPr/>
        </p:nvSpPr>
        <p:spPr>
          <a:xfrm>
            <a:off x="4429124" y="1800746"/>
            <a:ext cx="1714512" cy="785818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700" b="1" dirty="0" smtClean="0">
                <a:solidFill>
                  <a:schemeClr val="tx1"/>
                </a:solidFill>
              </a:rPr>
              <a:t>Всего на реализацию проекта</a:t>
            </a:r>
            <a:endParaRPr lang="ru-RU" sz="1700" b="1" dirty="0">
              <a:solidFill>
                <a:schemeClr val="tx1"/>
              </a:solidFill>
            </a:endParaRPr>
          </a:p>
        </p:txBody>
      </p:sp>
      <p:sp>
        <p:nvSpPr>
          <p:cNvPr id="27" name="Пятиугольник 26"/>
          <p:cNvSpPr/>
          <p:nvPr/>
        </p:nvSpPr>
        <p:spPr>
          <a:xfrm>
            <a:off x="6143636" y="1800746"/>
            <a:ext cx="1000132" cy="785818"/>
          </a:xfrm>
          <a:prstGeom prst="homePlate">
            <a:avLst/>
          </a:prstGeom>
          <a:gradFill>
            <a:gsLst>
              <a:gs pos="0">
                <a:srgbClr val="FFFF66"/>
              </a:gs>
              <a:gs pos="50000">
                <a:srgbClr val="FFFFCC"/>
              </a:gs>
              <a:gs pos="100000">
                <a:srgbClr val="FFFF66"/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% </a:t>
            </a:r>
            <a:r>
              <a:rPr lang="ru-RU" sz="1100" b="1" dirty="0" smtClean="0">
                <a:solidFill>
                  <a:schemeClr val="tx1"/>
                </a:solidFill>
              </a:rPr>
              <a:t>местной доли</a:t>
            </a:r>
          </a:p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8" name="Овал 27"/>
          <p:cNvSpPr/>
          <p:nvPr/>
        </p:nvSpPr>
        <p:spPr>
          <a:xfrm>
            <a:off x="7143768" y="1800746"/>
            <a:ext cx="1857388" cy="857256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За счет местных средств</a:t>
            </a:r>
            <a:endParaRPr lang="ru-RU" sz="1600" b="1" dirty="0">
              <a:solidFill>
                <a:schemeClr val="tx1"/>
              </a:solidFill>
            </a:endParaRPr>
          </a:p>
        </p:txBody>
      </p:sp>
      <p:pic>
        <p:nvPicPr>
          <p:cNvPr id="29" name="Picture 2" descr="C:\Users\BUDG-111\Desktop\Безымянный3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85720" y="3872448"/>
            <a:ext cx="857256" cy="805098"/>
          </a:xfrm>
          <a:prstGeom prst="ellipse">
            <a:avLst/>
          </a:prstGeom>
          <a:ln w="63500" cap="rnd">
            <a:solidFill>
              <a:schemeClr val="tx2">
                <a:lumMod val="60000"/>
                <a:lumOff val="40000"/>
              </a:schemeClr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30" name="Picture 2" descr="C:\Users\BUDG-111\Desktop\Безымянный5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85720" y="2872316"/>
            <a:ext cx="844505" cy="838431"/>
          </a:xfrm>
          <a:prstGeom prst="ellipse">
            <a:avLst/>
          </a:prstGeom>
          <a:ln w="63500" cap="rnd">
            <a:solidFill>
              <a:schemeClr val="tx2">
                <a:lumMod val="60000"/>
                <a:lumOff val="40000"/>
              </a:schemeClr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31" name="Picture 2" descr="C:\Users\BUDG-111\Desktop\Безымянный7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85720" y="4801142"/>
            <a:ext cx="857255" cy="857256"/>
          </a:xfrm>
          <a:prstGeom prst="ellipse">
            <a:avLst/>
          </a:prstGeom>
          <a:ln w="63500" cap="rnd">
            <a:solidFill>
              <a:schemeClr val="tx2">
                <a:lumMod val="60000"/>
                <a:lumOff val="40000"/>
              </a:schemeClr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32" name="Picture 2" descr="C:\Users\BUDG-111\Desktop\Безымянный13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85720" y="1800746"/>
            <a:ext cx="4071966" cy="785818"/>
          </a:xfrm>
          <a:prstGeom prst="rect">
            <a:avLst/>
          </a:prstGeom>
          <a:noFill/>
          <a:effectLst>
            <a:reflection blurRad="6350" stA="50000" endA="300" endPos="90000" dir="5400000" sy="-100000" algn="bl" rotWithShape="0"/>
          </a:effectLst>
        </p:spPr>
      </p:pic>
      <p:pic>
        <p:nvPicPr>
          <p:cNvPr id="33" name="Picture 1" descr="C:\Users\BUDG-111\Desktop\Безымянный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85720" y="5801274"/>
            <a:ext cx="857256" cy="857232"/>
          </a:xfrm>
          <a:prstGeom prst="ellipse">
            <a:avLst/>
          </a:prstGeom>
          <a:ln w="63500" cap="rnd">
            <a:solidFill>
              <a:schemeClr val="tx2">
                <a:lumMod val="60000"/>
                <a:lumOff val="40000"/>
              </a:schemeClr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35" name="Text Box 5"/>
          <p:cNvSpPr txBox="1">
            <a:spLocks noChangeArrowheads="1"/>
          </p:cNvSpPr>
          <p:nvPr/>
        </p:nvSpPr>
        <p:spPr bwMode="auto">
          <a:xfrm>
            <a:off x="7524328" y="1357298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pic>
        <p:nvPicPr>
          <p:cNvPr id="3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AutoShape 2"/>
          <p:cNvSpPr>
            <a:spLocks noChangeArrowheads="1"/>
          </p:cNvSpPr>
          <p:nvPr/>
        </p:nvSpPr>
        <p:spPr bwMode="auto">
          <a:xfrm>
            <a:off x="1357290" y="142852"/>
            <a:ext cx="7429552" cy="1143008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cs typeface="Times New Roman" pitchFamily="18" charset="0"/>
              </a:rPr>
              <a:t>Расходы на софинансирование региональных проектов на реализацию федеральных (национальных) проектов </a:t>
            </a:r>
          </a:p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cs typeface="Times New Roman" pitchFamily="18" charset="0"/>
              </a:rPr>
              <a:t>в 2019 году </a:t>
            </a:r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5" name="Овал 4"/>
          <p:cNvSpPr/>
          <p:nvPr/>
        </p:nvSpPr>
        <p:spPr>
          <a:xfrm>
            <a:off x="8358214" y="2571744"/>
            <a:ext cx="45719" cy="4571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14282" y="1557285"/>
          <a:ext cx="8715436" cy="52293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00660"/>
                <a:gridCol w="1357322"/>
                <a:gridCol w="928694"/>
                <a:gridCol w="1428760"/>
              </a:tblGrid>
              <a:tr h="50490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ysClr val="windowText" lastClr="000000"/>
                          </a:solidFill>
                        </a:rPr>
                        <a:t>Наименование субсидии</a:t>
                      </a:r>
                      <a:endParaRPr lang="ru-RU" sz="14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Всего сумма субсидии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% местной доли</a:t>
                      </a:r>
                      <a:endParaRPr lang="ru-RU" sz="14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За счет местных средств</a:t>
                      </a:r>
                      <a:endParaRPr lang="ru-RU" sz="14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557904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Обеспечение безопасности граждан в местах массового пребывания людей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,0</a:t>
                      </a:r>
                      <a:endParaRPr lang="ru-RU" sz="1600" dirty="0"/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5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0,05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557904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 Предоставление молодым семьям выплат на приобретение жилья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20,0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5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1,0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557904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 Замена оконных блоков</a:t>
                      </a:r>
                      <a:r>
                        <a:rPr lang="ru-RU" sz="1600" baseline="0" dirty="0" smtClean="0">
                          <a:solidFill>
                            <a:sysClr val="windowText" lastClr="000000"/>
                          </a:solidFill>
                        </a:rPr>
                        <a:t> в образовательных организациях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3,0</a:t>
                      </a:r>
                      <a:endParaRPr lang="ru-RU" sz="1600" dirty="0"/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8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0,2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557904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 Капитальный ремонт кровель в общеобразовательных организациях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3,8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19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0,7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557904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 Благоустройство территорий общеобразовательных организаций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6,4</a:t>
                      </a:r>
                      <a:endParaRPr lang="ru-RU" sz="1600" dirty="0"/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19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1,2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33182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 Ремонт автомобильных дорог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35,8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5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6,8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557904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 Реализация проектов , основанных на местных инициативах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0,8</a:t>
                      </a:r>
                      <a:endParaRPr lang="ru-RU" sz="1600" dirty="0"/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25,9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2,8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557904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 Реализация мероприятий по</a:t>
                      </a:r>
                      <a:r>
                        <a:rPr lang="ru-RU" sz="1600" baseline="0" dirty="0" smtClean="0">
                          <a:solidFill>
                            <a:sysClr val="windowText" lastClr="000000"/>
                          </a:solidFill>
                        </a:rPr>
                        <a:t> благоустройству территорий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31,6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5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1,6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291603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 smtClean="0">
                          <a:solidFill>
                            <a:sysClr val="windowText" lastClr="000000"/>
                          </a:solidFill>
                        </a:rPr>
                        <a:t>Итого:</a:t>
                      </a:r>
                      <a:endParaRPr lang="ru-RU" sz="16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212,4</a:t>
                      </a:r>
                      <a:endParaRPr lang="ru-RU" sz="1600" b="1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ysClr val="windowText" lastClr="000000"/>
                          </a:solidFill>
                        </a:rPr>
                        <a:t>14,4</a:t>
                      </a:r>
                      <a:endParaRPr lang="ru-RU" sz="16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7572396" y="1233058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pic>
        <p:nvPicPr>
          <p:cNvPr id="10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357290" y="142852"/>
            <a:ext cx="7429552" cy="1143008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err="1" smtClean="0">
                <a:solidFill>
                  <a:schemeClr val="bg1"/>
                </a:solidFill>
                <a:cs typeface="Times New Roman" pitchFamily="18" charset="0"/>
              </a:rPr>
              <a:t>Софинансирование</a:t>
            </a:r>
            <a:r>
              <a:rPr lang="ru-RU" b="1" dirty="0" smtClean="0">
                <a:solidFill>
                  <a:schemeClr val="bg1"/>
                </a:solidFill>
                <a:cs typeface="Times New Roman" pitchFamily="18" charset="0"/>
              </a:rPr>
              <a:t> субсидий и иных межбюджетных трансфертов из регионального (краевого) бюджета </a:t>
            </a:r>
          </a:p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cs typeface="Times New Roman" pitchFamily="18" charset="0"/>
              </a:rPr>
              <a:t>в 2019 году </a:t>
            </a:r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graphicFrame>
        <p:nvGraphicFramePr>
          <p:cNvPr id="5" name="Диаграмма 4"/>
          <p:cNvGraphicFramePr/>
          <p:nvPr/>
        </p:nvGraphicFramePr>
        <p:xfrm>
          <a:off x="0" y="1268760"/>
          <a:ext cx="9144000" cy="5589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7429520" y="1785926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pic>
        <p:nvPicPr>
          <p:cNvPr id="9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357290" y="142852"/>
            <a:ext cx="7215238" cy="135732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Объем дорожного фонда города-курорта Железноводска  на 2019 год и плановый период 2020 и 20</a:t>
            </a:r>
            <a:r>
              <a:rPr lang="en-US" sz="2400" b="1" dirty="0" smtClean="0">
                <a:solidFill>
                  <a:schemeClr val="bg1"/>
                </a:solidFill>
                <a:cs typeface="Times New Roman" pitchFamily="18" charset="0"/>
              </a:rPr>
              <a:t>2</a:t>
            </a: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1 годов</a:t>
            </a:r>
            <a:endParaRPr lang="ru-RU" sz="2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59395" name="Rectangle 2"/>
          <p:cNvSpPr>
            <a:spLocks noChangeArrowheads="1"/>
          </p:cNvSpPr>
          <p:nvPr/>
        </p:nvSpPr>
        <p:spPr bwMode="auto">
          <a:xfrm>
            <a:off x="323850" y="260350"/>
            <a:ext cx="8496300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FF0000"/>
              </a:solidFill>
            </a:endParaRP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57158" y="1500174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357158" y="2143107"/>
          <a:ext cx="8572500" cy="4333533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628650"/>
                <a:gridCol w="2943220"/>
                <a:gridCol w="1000130"/>
                <a:gridCol w="93662"/>
                <a:gridCol w="792163"/>
                <a:gridCol w="790575"/>
                <a:gridCol w="792162"/>
                <a:gridCol w="93663"/>
                <a:gridCol w="719137"/>
                <a:gridCol w="719138"/>
              </a:tblGrid>
              <a:tr h="41822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а       измерения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1822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</a:tr>
              <a:tr h="789236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1 Программы: повышение доступности и качества образования в городе-курорте Железноводске Ставропольского края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15190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Уровень удовлетворенности населения города-курорта Железноводска Ставропольского края качеством образования: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41442" marR="41442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</a:tr>
              <a:tr h="52076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.1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ошкольного образования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5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</a:tr>
              <a:tr h="50996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.2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щего образования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7</a:t>
                      </a:r>
                    </a:p>
                  </a:txBody>
                  <a:tcPr marL="41442" marR="41442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.3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ополнительного образования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</a:p>
                  </a:txBody>
                  <a:tcPr marL="41442" marR="41442" marT="0" marB="0" horzOverflow="overflow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/>
                </a:tc>
              </a:tr>
            </a:tbl>
          </a:graphicData>
        </a:graphic>
      </p:graphicFrame>
      <p:pic>
        <p:nvPicPr>
          <p:cNvPr id="59464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1143008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образования в городе-курорте Железноводске Ставропольского края»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graphicFrame>
        <p:nvGraphicFramePr>
          <p:cNvPr id="19458" name="Object 5"/>
          <p:cNvGraphicFramePr>
            <a:graphicFrameLocks noChangeAspect="1"/>
          </p:cNvGraphicFramePr>
          <p:nvPr/>
        </p:nvGraphicFramePr>
        <p:xfrm>
          <a:off x="-327025" y="1236663"/>
          <a:ext cx="6756400" cy="5264150"/>
        </p:xfrm>
        <a:graphic>
          <a:graphicData uri="http://schemas.openxmlformats.org/presentationml/2006/ole">
            <p:oleObj spid="_x0000_s19458" r:id="rId4" imgW="6761050" imgH="5261304" progId="Excel.Sheet.8">
              <p:embed/>
            </p:oleObj>
          </a:graphicData>
        </a:graphic>
      </p:graphicFrame>
      <p:sp>
        <p:nvSpPr>
          <p:cNvPr id="19460" name="Rectangle 2"/>
          <p:cNvSpPr>
            <a:spLocks noChangeArrowheads="1"/>
          </p:cNvSpPr>
          <p:nvPr/>
        </p:nvSpPr>
        <p:spPr bwMode="auto">
          <a:xfrm>
            <a:off x="323850" y="260350"/>
            <a:ext cx="8496300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FF0000"/>
              </a:solidFill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285720" y="1214422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14282" y="1571612"/>
          <a:ext cx="8786812" cy="5090785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506412"/>
                <a:gridCol w="4422775"/>
                <a:gridCol w="857250"/>
                <a:gridCol w="857250"/>
                <a:gridCol w="642938"/>
                <a:gridCol w="500062"/>
                <a:gridCol w="517525"/>
                <a:gridCol w="482600"/>
              </a:tblGrid>
              <a:tr h="23971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а       измере-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0321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</a:tr>
              <a:tr h="319088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1 «Развитие дошкольного, общего и дополнительного образования в городе-курорте Железноводске Ставропольского края»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096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</a:tr>
              <a:tr h="4794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1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детей в возрасте от 1 года до 7 лет, охваченных различными формами дошкольного образования, в общей численности детей дошкольного возраста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3,7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3,7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3,7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3,7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3,7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</a:tr>
              <a:tr h="7921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2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учащихся, обучающихся по федеральному государственному образовательному стандарту начального общего образования, в общей численности учащихся, осваивающих образовательные программы начального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ще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</a:tr>
              <a:tr h="5937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3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учащихся, обучающихся по федеральному государственному образовательному стандарту основного общего образования, в общей численности учащихся, осваивающих образовательные программы основного обще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1,6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0,6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80,6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80,6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80,6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</a:tr>
              <a:tr h="5937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4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выпускников, успешно освоивших программу начального общего образования, в общей численности выпускников, освоивших программу начального обще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</a:tr>
              <a:tr h="5937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5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выпускников муниципальных общеобразовательных организаций (далее - общеобразовательные организации), не получивших аттестат о среднем общем образовании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</a:tr>
              <a:tr h="4794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6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детей, охваченных дополнительным образованием, в общей численности детей и молодежи в возрасте от 5 лет до 18 ле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3,5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</a:tr>
            </a:tbl>
          </a:graphicData>
        </a:graphic>
      </p:graphicFrame>
      <p:sp>
        <p:nvSpPr>
          <p:cNvPr id="19556" name="Rectangle 5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altLang="zh-CN" sz="1200">
                <a:cs typeface="Times New Roman" pitchFamily="18" charset="0"/>
              </a:rPr>
              <a:t/>
            </a:r>
            <a:br>
              <a:rPr lang="ru-RU" altLang="zh-CN" sz="1200">
                <a:cs typeface="Times New Roman" pitchFamily="18" charset="0"/>
              </a:rPr>
            </a:br>
            <a:endParaRPr lang="ru-RU" altLang="zh-CN" sz="800">
              <a:cs typeface="Times New Roman" pitchFamily="18" charset="0"/>
            </a:endParaRPr>
          </a:p>
          <a:p>
            <a:endParaRPr lang="ru-RU" altLang="zh-CN">
              <a:cs typeface="Times New Roman" pitchFamily="18" charset="0"/>
            </a:endParaRPr>
          </a:p>
        </p:txBody>
      </p:sp>
      <p:pic>
        <p:nvPicPr>
          <p:cNvPr id="1955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142976" y="142852"/>
            <a:ext cx="7643866" cy="107157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образования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57158" y="1214425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500063" y="1616095"/>
          <a:ext cx="8358187" cy="4884739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312737"/>
                <a:gridCol w="92075"/>
                <a:gridCol w="3511550"/>
                <a:gridCol w="782638"/>
                <a:gridCol w="92075"/>
                <a:gridCol w="565150"/>
                <a:gridCol w="493712"/>
                <a:gridCol w="862013"/>
                <a:gridCol w="862012"/>
                <a:gridCol w="784225"/>
              </a:tblGrid>
              <a:tr h="260350"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841" marR="41841" marT="0" marB="0" anchor="ctr" horzOverflow="overflow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841" marR="41841" marT="0" marB="0" anchor="ctr" horzOverflow="overflow"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а       измере-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841" marR="41841" marT="0" marB="0" anchor="ctr" horzOverflow="overflow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841" marR="4184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71675"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</a:tr>
              <a:tr h="519113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2 Программы: создание условий,  обеспечивающих предоставление доступного и качественного образования в образовательных учреждениях города-курорта Железноводска Ставропольского края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841" marR="4184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191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841" marR="41841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ндикаторы достижения цели Программы: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841" marR="41841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841" marR="41841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841" marR="41841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841" marR="4184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841" marR="4184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841" marR="4184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841" marR="41841" marT="0" marB="0" horzOverflow="overflow"/>
                </a:tc>
              </a:tr>
              <a:tr h="5476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.1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841" marR="41841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 исполнения плана проверок при реализации внутриведомственного контроля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841" marR="41841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841" marR="41841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9</a:t>
                      </a:r>
                    </a:p>
                  </a:txBody>
                  <a:tcPr marL="41841" marR="41841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</a:p>
                  </a:txBody>
                  <a:tcPr marL="41841" marR="4184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841" marR="4184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841" marR="4184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841" marR="41841" marT="0" marB="0" horzOverflow="overflow"/>
                </a:tc>
              </a:tr>
              <a:tr h="10398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.2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841" marR="41841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 своевременно представленных отчетов отраслевыми (функциональными) органами администрации города-курорта Железноводска Ставропольского края отчетности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841" marR="41841" marT="0" marB="0" anchor="b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841" marR="41841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9</a:t>
                      </a:r>
                    </a:p>
                  </a:txBody>
                  <a:tcPr marL="41841" marR="41841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</a:p>
                  </a:txBody>
                  <a:tcPr marL="41841" marR="4184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841" marR="4184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841" marR="4184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841" marR="41841" marT="0" marB="0" horzOverflow="overflow"/>
                </a:tc>
              </a:tr>
            </a:tbl>
          </a:graphicData>
        </a:graphic>
      </p:graphicFrame>
      <p:pic>
        <p:nvPicPr>
          <p:cNvPr id="9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AutoShape 2"/>
          <p:cNvSpPr>
            <a:spLocks noChangeArrowheads="1"/>
          </p:cNvSpPr>
          <p:nvPr/>
        </p:nvSpPr>
        <p:spPr bwMode="auto">
          <a:xfrm>
            <a:off x="1214414" y="71414"/>
            <a:ext cx="7643866" cy="107157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образования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graphicFrame>
        <p:nvGraphicFramePr>
          <p:cNvPr id="21506" name="Object 5"/>
          <p:cNvGraphicFramePr>
            <a:graphicFrameLocks noChangeAspect="1"/>
          </p:cNvGraphicFramePr>
          <p:nvPr/>
        </p:nvGraphicFramePr>
        <p:xfrm>
          <a:off x="-327025" y="1236663"/>
          <a:ext cx="6756400" cy="5264150"/>
        </p:xfrm>
        <a:graphic>
          <a:graphicData uri="http://schemas.openxmlformats.org/presentationml/2006/ole">
            <p:oleObj spid="_x0000_s21506" r:id="rId4" imgW="6761050" imgH="5261304" progId="Excel.Sheet.8">
              <p:embed/>
            </p:oleObj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57188" y="1214425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85750" y="1713258"/>
          <a:ext cx="8572500" cy="4930452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623888"/>
                <a:gridCol w="3138487"/>
                <a:gridCol w="852488"/>
                <a:gridCol w="95250"/>
                <a:gridCol w="938212"/>
                <a:gridCol w="712788"/>
                <a:gridCol w="784225"/>
                <a:gridCol w="714375"/>
                <a:gridCol w="712787"/>
              </a:tblGrid>
              <a:tr h="2127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anchor="ctr" horzOverflow="overflow"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а       измере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anchor="ctr" horzOverflow="overflow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99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/>
                </a:tc>
              </a:tr>
              <a:tr h="42386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2 «Обеспечение реализации муниципальной программы города-курорта Железноводска Ставропольского края «Развитие образования в городе курорте Железноводске Ставропольского края» и общепрограммные мероприятия»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27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</a:tr>
              <a:tr h="10604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.1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сть представления планового реестра расходных обязательств города-курорта Железноводска Ставропольского края на очередной финансовый год и на плановый период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</a:tr>
              <a:tr h="12715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.2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сть представления обоснований бюджетных ассигнований на очередной финансовый год и плановый период  в  Финансовое управление администрации города-курорта Железноводска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764" marR="41764" marT="0" marB="0" horzOverflow="overflow"/>
                </a:tc>
              </a:tr>
            </a:tbl>
          </a:graphicData>
        </a:graphic>
      </p:graphicFrame>
      <p:pic>
        <p:nvPicPr>
          <p:cNvPr id="9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-24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214414" y="71414"/>
            <a:ext cx="7643866" cy="107157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образования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-2428924" y="1571612"/>
            <a:ext cx="8496300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700" b="1" dirty="0">
              <a:solidFill>
                <a:srgbClr val="FF0000"/>
              </a:solidFill>
            </a:endParaRP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57158" y="1142984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285720" y="1526198"/>
          <a:ext cx="8572500" cy="5144457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906463"/>
                <a:gridCol w="2300287"/>
                <a:gridCol w="957263"/>
                <a:gridCol w="904875"/>
                <a:gridCol w="893762"/>
                <a:gridCol w="96838"/>
                <a:gridCol w="933450"/>
                <a:gridCol w="96837"/>
                <a:gridCol w="739775"/>
                <a:gridCol w="742950"/>
              </a:tblGrid>
              <a:tr h="21917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1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1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64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</a:tr>
              <a:tr h="450883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Цель 1 Программы: содействие в обеспечении устойчивого роста уровня и качества жизни населения города-курорта Железноводска Ставропольского края (предоставление мер социальной поддержки в соответствии с законодательством Российской Федерации и законодательством Ставропольского края)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05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.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ндикатор достижения цели Программы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5264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.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граждан, которым предоставлены меры социальной поддержки в общей численности граждан, обратившихся и имеющих право на их получение в соответствии с законодательством Российской Федерации и законодательством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</a:tr>
              <a:tr h="219179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дпрограмма 1:  «Социальное обеспечение населения города-курорта Железноводска Ставропольского края»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05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2180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тношение численности третьих или последующих детей, родившихся в семьях, проживающих на территории города, в отчетном финансовом году, к численности детей указанной категории, родившихся в году, предшествующем отчетному году 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1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</a:tr>
              <a:tr h="75147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2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оля семей, получающих субсидии на оплату жилого помещения и коммунальных услуг, в общем количестве семей, проживающих на территории города 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,5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,5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,5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,5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,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solidFill>
                      <a:srgbClr val="B2FC9E"/>
                    </a:solidFill>
                  </a:tcPr>
                </a:tc>
              </a:tr>
            </a:tbl>
          </a:graphicData>
        </a:graphic>
      </p:graphicFrame>
      <p:pic>
        <p:nvPicPr>
          <p:cNvPr id="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214414" y="71414"/>
            <a:ext cx="7643866" cy="107157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Социальная поддержка населения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17" name="Rectangle 51"/>
          <p:cNvSpPr>
            <a:spLocks noChangeArrowheads="1"/>
          </p:cNvSpPr>
          <p:nvPr/>
        </p:nvSpPr>
        <p:spPr bwMode="auto">
          <a:xfrm>
            <a:off x="428625" y="357188"/>
            <a:ext cx="8382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900" b="1" cap="all" dirty="0">
              <a:solidFill>
                <a:srgbClr val="6600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Times New Roman" pitchFamily="18" charset="0"/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/>
        </p:nvGraphicFramePr>
        <p:xfrm>
          <a:off x="357158" y="1714487"/>
          <a:ext cx="8520142" cy="5016856"/>
        </p:xfrm>
        <a:graphic>
          <a:graphicData uri="http://schemas.openxmlformats.org/drawingml/2006/table">
            <a:tbl>
              <a:tblPr/>
              <a:tblGrid>
                <a:gridCol w="2620205"/>
                <a:gridCol w="964053"/>
                <a:gridCol w="1102472"/>
                <a:gridCol w="854946"/>
                <a:gridCol w="1104101"/>
                <a:gridCol w="936368"/>
                <a:gridCol w="937997"/>
              </a:tblGrid>
              <a:tr h="610356">
                <a:tc rowSpan="2">
                  <a:txBody>
                    <a:bodyPr/>
                    <a:lstStyle/>
                    <a:p>
                      <a:pPr marL="0" marR="0" lvl="0" indent="809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казатель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че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6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че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7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гноз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8 год</a:t>
                      </a:r>
                    </a:p>
                  </a:txBody>
                  <a:tcPr marL="60158" marR="60158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гноз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64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2D050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</a:tr>
              <a:tr h="51373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селение, тыс. чел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,70</a:t>
                      </a: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,54</a:t>
                      </a: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,375</a:t>
                      </a: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,336</a:t>
                      </a: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,337</a:t>
                      </a: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,360</a:t>
                      </a: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</a:tr>
              <a:tr h="54368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вестиции в основной капитал, </a:t>
                      </a:r>
                      <a:r>
                        <a:rPr kumimoji="0" lang="ru-RU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лн</a:t>
                      </a: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руб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21,10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66,24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19,28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59,03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03,06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58,51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</a:tr>
              <a:tr h="8696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декс физического объема инвестиций в основной капитал, %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8,20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1,04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,31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,20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,28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,44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</a:tr>
              <a:tr h="5507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онд заработной платы, </a:t>
                      </a:r>
                      <a:r>
                        <a:rPr kumimoji="0" lang="ru-RU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лн</a:t>
                      </a: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руб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80,70</a:t>
                      </a: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194,10</a:t>
                      </a: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01,50</a:t>
                      </a: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83,23</a:t>
                      </a: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485,80</a:t>
                      </a: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19,02</a:t>
                      </a: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</a:tr>
              <a:tr h="43482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ровень безработицы, 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60</a:t>
                      </a: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60</a:t>
                      </a: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60</a:t>
                      </a: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60</a:t>
                      </a: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60</a:t>
                      </a: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60</a:t>
                      </a: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</a:tr>
              <a:tr h="62807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еднемесячная заработная плата, руб.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950,00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488,50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185,60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608,38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192,00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942,23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</a:tr>
              <a:tr h="6493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вод в действие жилых домов, тыс. кв. м в общей площади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,40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,10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,08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,24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,33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,56</a:t>
                      </a:r>
                    </a:p>
                  </a:txBody>
                  <a:tcPr marL="60158" marR="60158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t="100000" r="100000"/>
                      </a:path>
                      <a:tileRect l="-100000" b="-100000"/>
                    </a:gradFill>
                  </a:tcPr>
                </a:tc>
              </a:tr>
            </a:tbl>
          </a:graphicData>
        </a:graphic>
      </p:graphicFrame>
      <p:sp>
        <p:nvSpPr>
          <p:cNvPr id="6" name="AutoShape 2"/>
          <p:cNvSpPr>
            <a:spLocks noChangeArrowheads="1"/>
          </p:cNvSpPr>
          <p:nvPr/>
        </p:nvSpPr>
        <p:spPr bwMode="auto">
          <a:xfrm>
            <a:off x="1142976" y="214290"/>
            <a:ext cx="7786742" cy="135732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Основные показатели социально-экономического развития города-курорта Железноводска Ставропольского края в соответствии с прогнозом социально-экономического развити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32831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graphicFrame>
        <p:nvGraphicFramePr>
          <p:cNvPr id="22530" name="Object 5"/>
          <p:cNvGraphicFramePr>
            <a:graphicFrameLocks noChangeAspect="1"/>
          </p:cNvGraphicFramePr>
          <p:nvPr/>
        </p:nvGraphicFramePr>
        <p:xfrm>
          <a:off x="-327025" y="1236663"/>
          <a:ext cx="6756400" cy="5264150"/>
        </p:xfrm>
        <a:graphic>
          <a:graphicData uri="http://schemas.openxmlformats.org/presentationml/2006/ole">
            <p:oleObj spid="_x0000_s22530" r:id="rId4" imgW="6761050" imgH="5261304" progId="Excel.Sheet.8">
              <p:embed/>
            </p:oleObj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285780" y="1506575"/>
          <a:ext cx="8572500" cy="5208573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906462"/>
                <a:gridCol w="2300288"/>
                <a:gridCol w="957262"/>
                <a:gridCol w="904875"/>
                <a:gridCol w="893763"/>
                <a:gridCol w="96837"/>
                <a:gridCol w="933450"/>
                <a:gridCol w="96838"/>
                <a:gridCol w="739775"/>
                <a:gridCol w="742950"/>
              </a:tblGrid>
              <a:tr h="28416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306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</a:tr>
              <a:tr h="568325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2 Программы: содействие в обеспечении устойчивого роста уровня и качества жизни населения города-курорта Железноводска Ставропольского края (оказание помощи в соответствии с нормативными правовыми актами города-курорта Железноводска Ставропольского края, проведение социально значимых мероприяти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587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дикаторы достижения цели подпрограмм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8588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граждан, которым предоставлены меры социальной поддержки в общей численности граждан, обратившихся и имеющих право на их получение в соответствии с нормативными правовыми актам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</a:tr>
              <a:tr h="5683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проведенных социально значимых меро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ероприят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</a:tr>
              <a:tr h="284163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2: «Социальная защита населения города-курорта Железноводска Ставропольского края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58775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2 Программы: предоставление мер социальной поддержки в соответствии с нормативными правовыми актам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587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683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семей, которым предоставлены меры социальной поддержки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емь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</a:tr>
            </a:tbl>
          </a:graphicData>
        </a:graphic>
      </p:graphicFrame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357158" y="1142984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9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214414" y="71414"/>
            <a:ext cx="7643866" cy="107157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Социальная поддержка населения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graphicFrame>
        <p:nvGraphicFramePr>
          <p:cNvPr id="23554" name="Object 5"/>
          <p:cNvGraphicFramePr>
            <a:graphicFrameLocks noChangeAspect="1"/>
          </p:cNvGraphicFramePr>
          <p:nvPr/>
        </p:nvGraphicFramePr>
        <p:xfrm>
          <a:off x="-327025" y="1236663"/>
          <a:ext cx="6756400" cy="5264150"/>
        </p:xfrm>
        <a:graphic>
          <a:graphicData uri="http://schemas.openxmlformats.org/presentationml/2006/ole">
            <p:oleObj spid="_x0000_s23554" r:id="rId4" imgW="6761050" imgH="5261304" progId="Excel.Sheet.8">
              <p:embed/>
            </p:oleObj>
          </a:graphicData>
        </a:graphic>
      </p:graphicFrame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357188" y="1428739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428625" y="1985778"/>
          <a:ext cx="8429625" cy="4657932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892175"/>
                <a:gridCol w="2260600"/>
                <a:gridCol w="942975"/>
                <a:gridCol w="889000"/>
                <a:gridCol w="877888"/>
                <a:gridCol w="95250"/>
                <a:gridCol w="919162"/>
                <a:gridCol w="93663"/>
                <a:gridCol w="728662"/>
                <a:gridCol w="730250"/>
              </a:tblGrid>
              <a:tr h="27609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6201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</a:tr>
              <a:tr h="433444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2 подпрограммы 2 Программы: проведение социально значимых мероприятий, посвященных праздничным и памятным дата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5218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10295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граждан, в том числе несовершеннолетних детей, принявших участие в социально значимых мероприятиях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</a:tr>
              <a:tr h="19312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граждан с ограниченными возможностями здоровья и граждан пожилого возраста, которым оказана материальная  помощь в связи с памятными или юбилейными датам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solidFill>
                      <a:srgbClr val="B2FC9E"/>
                    </a:solidFill>
                  </a:tcPr>
                </a:tc>
              </a:tr>
            </a:tbl>
          </a:graphicData>
        </a:graphic>
      </p:graphicFrame>
      <p:pic>
        <p:nvPicPr>
          <p:cNvPr id="11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107157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Социальная поддержка населения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graphicFrame>
        <p:nvGraphicFramePr>
          <p:cNvPr id="24578" name="Object 5"/>
          <p:cNvGraphicFramePr>
            <a:graphicFrameLocks noChangeAspect="1"/>
          </p:cNvGraphicFramePr>
          <p:nvPr/>
        </p:nvGraphicFramePr>
        <p:xfrm>
          <a:off x="-327025" y="1236663"/>
          <a:ext cx="6756400" cy="5264150"/>
        </p:xfrm>
        <a:graphic>
          <a:graphicData uri="http://schemas.openxmlformats.org/presentationml/2006/ole">
            <p:oleObj spid="_x0000_s24578" r:id="rId4" imgW="6761050" imgH="5261304" progId="Excel.Sheet.8">
              <p:embed/>
            </p:oleObj>
          </a:graphicData>
        </a:graphic>
      </p:graphicFrame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357188" y="1285863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285750" y="1858984"/>
          <a:ext cx="8643938" cy="4641850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561975"/>
                <a:gridCol w="3370263"/>
                <a:gridCol w="1403350"/>
                <a:gridCol w="838200"/>
                <a:gridCol w="612775"/>
                <a:gridCol w="88900"/>
                <a:gridCol w="461962"/>
                <a:gridCol w="482600"/>
                <a:gridCol w="823913"/>
              </a:tblGrid>
              <a:tr h="28575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46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</a:tr>
              <a:tr h="571500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3 Программы: предупреждение и профилактика производственного травматизма, сохранение жизни и здоровья человека в процессе труда, разработка комплекса мер по усилению профилактической работы по охране тру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дикатор достижения цели подпрограмм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048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.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организаций, участвующих в проведении мониторинга условий и охраны тру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рганизац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</a:tr>
              <a:tr h="285750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3: «Улучшение условий и охраны труда в городе-курорте Железноводске Ставропольского края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048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.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специалистов, прошедших обучение по охране труд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1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1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1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1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1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</a:tr>
              <a:tr h="5715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.2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участников ежегодной выставки «Спецовка. Охрана труда»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</a:tr>
              <a:tr h="5715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.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участников ежегодного городского конкурса на лучшую организацию работы по охране труд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рганизац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</a:tr>
            </a:tbl>
          </a:graphicData>
        </a:graphic>
      </p:graphicFrame>
      <p:sp>
        <p:nvSpPr>
          <p:cNvPr id="2466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pic>
        <p:nvPicPr>
          <p:cNvPr id="11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AutoShape 2"/>
          <p:cNvSpPr>
            <a:spLocks noChangeArrowheads="1"/>
          </p:cNvSpPr>
          <p:nvPr/>
        </p:nvSpPr>
        <p:spPr bwMode="auto">
          <a:xfrm>
            <a:off x="1214414" y="142852"/>
            <a:ext cx="7643866" cy="107157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Социальная поддержка населения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285720" y="1547275"/>
          <a:ext cx="8572500" cy="5161838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447675"/>
                <a:gridCol w="2690813"/>
                <a:gridCol w="1120775"/>
                <a:gridCol w="1046162"/>
                <a:gridCol w="95250"/>
                <a:gridCol w="711200"/>
                <a:gridCol w="573088"/>
                <a:gridCol w="95250"/>
                <a:gridCol w="858837"/>
                <a:gridCol w="933450"/>
              </a:tblGrid>
              <a:tr h="14834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6885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</a:tr>
              <a:tr h="347679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5 Программы: осуществление деятельности в сфере развития социальной защиты населения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668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дикаторы достижения цели подпрограмм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4502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.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 исполнения плана проверок при реализации внутриведомственного контрол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</a:tr>
              <a:tr h="89005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.2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 своевременно предоставленных отраслевыми (функциональными) органами администрации города-курорта Железноводска Ставропольского края отчетности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</a:tr>
              <a:tr h="384776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5:  «Обеспечение реализации муниципальной программы города-курорта Железноводска Ставропольского края «Социальная поддержка населения города-курорта Железноводска Ставропольского края» и общепрограммные мероприятия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668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1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6749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1.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сть предоставления планового реестра расходных обязательств города-курорта Железноводска Ставропольского края на очередной год и плановый период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но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несвоевре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</a:tr>
              <a:tr h="115943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1.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сть предоставления обоснований бюджетных ассигнований на очередной финансовый год и плановый период в Финансовое управление администрац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но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несвоевре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</a:tr>
            </a:tbl>
          </a:graphicData>
        </a:graphic>
      </p:graphicFrame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57188" y="1142987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214414" y="71414"/>
            <a:ext cx="7643866" cy="107157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Социальная поддержка населения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285750" y="1992342"/>
          <a:ext cx="8572500" cy="4651368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487363"/>
                <a:gridCol w="2928937"/>
                <a:gridCol w="1219200"/>
                <a:gridCol w="788988"/>
                <a:gridCol w="76208"/>
                <a:gridCol w="727067"/>
                <a:gridCol w="804862"/>
                <a:gridCol w="604838"/>
                <a:gridCol w="935037"/>
              </a:tblGrid>
              <a:tr h="27781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651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232" marR="36232" marT="0" marB="0" anchor="ctr" horzOverflow="overflow">
                    <a:solidFill>
                      <a:srgbClr val="B2FC9E"/>
                    </a:solidFill>
                  </a:tcPr>
                </a:tc>
              </a:tr>
              <a:tr h="428616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6 Программы: материальная поддержка детей-сирот и детей, оставшихся без попечения родителей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000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2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дикатор достижения цели подпрограмм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</a:tr>
              <a:tr h="11096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2.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енность детей-сирот и детей, оставшихся без попечения родителей, переданных на воспитание в семьи граждан Российской Федерации, постоянно проживающих на территории Российской Федера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еловек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</a:tr>
              <a:tr h="555625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6: «Выплата денежных средств на содержание ребенка опекуну (попечителю), выплата единовременного пособия усыновителям, проживающим в городе-курорте Железноводске Ставропольского края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000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3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</a:tr>
              <a:tr h="4572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3.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исло детей, воспитывающихся в замещающих семьях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</a:tr>
              <a:tr h="4572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3.2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исло детей, нуждающихся в определении в семью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89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89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89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solidFill>
                      <a:srgbClr val="B2FC9E"/>
                    </a:solidFill>
                  </a:tcPr>
                </a:tc>
              </a:tr>
            </a:tbl>
          </a:graphicData>
        </a:graphic>
      </p:graphicFrame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357188" y="1428736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3578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pic>
        <p:nvPicPr>
          <p:cNvPr id="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107157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Социальная поддержка населения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-2571800" y="1500174"/>
            <a:ext cx="8496300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7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357301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451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357188" y="1927879"/>
          <a:ext cx="8572500" cy="4215765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944562"/>
                <a:gridCol w="2179638"/>
                <a:gridCol w="725487"/>
                <a:gridCol w="944563"/>
                <a:gridCol w="944562"/>
                <a:gridCol w="944563"/>
                <a:gridCol w="944562"/>
                <a:gridCol w="944563"/>
              </a:tblGrid>
              <a:tr h="20320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а измере-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32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     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     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     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406400">
                <a:tc gridSpan="8">
                  <a:txBody>
                    <a:bodyPr/>
                    <a:lstStyle/>
                    <a:p>
                      <a:pPr marL="45720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1 Программы: развитие и совершенствование имущественных и земельных отношений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429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ндикаторы достижения цели Программы: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13589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.1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по использованию муниципального имущества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13589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.2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по реализации муниципального имущества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</a:tbl>
          </a:graphicData>
        </a:graphic>
      </p:graphicFrame>
      <p:pic>
        <p:nvPicPr>
          <p:cNvPr id="9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107157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Управление имуществом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357301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5541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500063" y="1928797"/>
          <a:ext cx="8286750" cy="4786351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525462"/>
                <a:gridCol w="3687763"/>
                <a:gridCol w="542925"/>
                <a:gridCol w="173037"/>
                <a:gridCol w="533400"/>
                <a:gridCol w="706438"/>
                <a:gridCol w="704850"/>
                <a:gridCol w="706437"/>
                <a:gridCol w="706438"/>
              </a:tblGrid>
              <a:tr h="17938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п/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а измере-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5718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     2019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     2020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     2021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357188">
                <a:tc gridSpan="9">
                  <a:txBody>
                    <a:bodyPr/>
                    <a:lstStyle/>
                    <a:p>
                      <a:pPr marL="45720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Подпрограмма 1: «Управление муниципальной собственностью города-курорта Железноводске Ставропольского края»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63538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1 Программы: повышение эффективности управления имуществом, находящегося в муниципальной собственност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146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казатели решения задач подпрограммы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6651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1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по арендной плате за земельные участки, а также средств от продажи права на заключение договоров аренды за земл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-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54132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2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от сдачи в аренду имущества, находящегося в оперативном управления органов местного самоуправл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-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50006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3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от сдачи в аренду имущества, находящегося в муниципальной собственности (казна)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-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72392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  2.4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от перечисления части прибыли, остающейся после уплаты налогов и иных обязательных платежей муниципальных унитарных пред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-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7842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  2.5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оля основных фондов организаций муниципальной формы собственности, находящихся в стадии банкротства, в основных фондах организаций муниципальной формы собственности (на конец года по полной учетной стоимости)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-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</a:tbl>
          </a:graphicData>
        </a:graphic>
      </p:graphicFrame>
      <p:pic>
        <p:nvPicPr>
          <p:cNvPr id="9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214414" y="142852"/>
            <a:ext cx="7643866" cy="107157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Управление имуществом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214425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656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357188" y="1643065"/>
          <a:ext cx="8429625" cy="5000645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928687"/>
                <a:gridCol w="2143125"/>
                <a:gridCol w="714375"/>
                <a:gridCol w="928688"/>
                <a:gridCol w="928687"/>
                <a:gridCol w="928688"/>
                <a:gridCol w="928687"/>
                <a:gridCol w="928688"/>
              </a:tblGrid>
              <a:tr h="26035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а измере-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603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     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     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     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569913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2 Программы: создание условий для осуществления управления муниципальным имуществом и нормативного правового регулирования в сфере имущественных и земельных отношений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349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дикаторы достижения цели Программы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15208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.1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разработанных и утвержденных нормативных правовых актов в соответствии с планами работ, утвержденными администрацией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7016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.2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исполнения плана проверок при  реализации внутриведомственного контрол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122461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.3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своевременно представленных отраслевыми (функциональными) органами администрации города-курорта Железноводска Ставропольского края отчет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</a:tbl>
          </a:graphicData>
        </a:graphic>
      </p:graphicFrame>
      <p:pic>
        <p:nvPicPr>
          <p:cNvPr id="9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214414" y="142852"/>
            <a:ext cx="7643866" cy="107157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Управление имуществом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285863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7589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85750" y="1717436"/>
          <a:ext cx="8572500" cy="4854836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944563"/>
                <a:gridCol w="2179637"/>
                <a:gridCol w="725488"/>
                <a:gridCol w="944562"/>
                <a:gridCol w="944563"/>
                <a:gridCol w="944562"/>
                <a:gridCol w="944563"/>
                <a:gridCol w="944562"/>
              </a:tblGrid>
              <a:tr h="26299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а измере-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80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     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     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     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541020">
                <a:tc gridSpan="8">
                  <a:txBody>
                    <a:bodyPr/>
                    <a:lstStyle/>
                    <a:p>
                      <a:pPr marL="45720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2: «Обеспечение реализации муниципальной программы города-курорта Железноводска Ставропольского края           «Управление имуществом города-курорта Железноводска Ставропольского края» и общепрограммные мероприятия»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63562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2 Программы: совершенствование организационных, экономических и правовых механизмов  управления муниципальной собственностью города-курорта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3676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казатели решения задач подпрограммы: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133140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.1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ность предоставления планового реестра расходных обязательств города-курорта Железноводска Ставропольского края на очередной финансовый год и на плановый пери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  <a:tr h="142582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.2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сть предоставления обоснований бюджетных ассигнований на очередной финансовый год и плановый период в Финансовое управление администрац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/>
                </a:tc>
              </a:tr>
            </a:tbl>
          </a:graphicData>
        </a:graphic>
      </p:graphicFrame>
      <p:pic>
        <p:nvPicPr>
          <p:cNvPr id="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214414" y="142852"/>
            <a:ext cx="7643866" cy="107157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Управление имуществом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-2286048" y="1785926"/>
            <a:ext cx="9001125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7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214424"/>
            <a:ext cx="84963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8613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85781" y="1465874"/>
          <a:ext cx="8643937" cy="5248067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428625"/>
                <a:gridCol w="1897062"/>
                <a:gridCol w="1379538"/>
                <a:gridCol w="844550"/>
                <a:gridCol w="812800"/>
                <a:gridCol w="812800"/>
                <a:gridCol w="828675"/>
                <a:gridCol w="828675"/>
                <a:gridCol w="811212"/>
              </a:tblGrid>
              <a:tr h="14845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а измерен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34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</a:tr>
              <a:tr h="445366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1 Программы: создание условий для занятий физической культурой и спортом и приобщение всех слоев населения города-курорта Железноводска Ставропольского края к систематическим занятиям физической культурой и спортом, в том числе профессиональным спорто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69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ндикатор достижения цели </a:t>
                      </a: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 </a:t>
                      </a: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граммы: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</a:tr>
              <a:tr h="10391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.1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дельный вес населения города-курорта Желез­новодска Ставрополь­ского края, системати­чески занимающихся физической культурой и спортом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</a:tr>
              <a:tr h="320192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1: «Подготовка спортивного резерва и команд города-курорта Железноводска Ставропольского края, в том числе среди инвалидов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3439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1 Программы: обеспечение доступности занятий физической культурой и спортом для всех слоев насел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69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: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</a:tr>
              <a:tr h="5938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1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еспеченность города-курорта Железноводска Ставропольского края спортивными залами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в. метров на 10000 населения город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2,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</a:tr>
              <a:tr h="74227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2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еспеченность города-курорта Железноводска Ставропольского края плавательными бассей­нами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в. метров зеркала на 10000 на­селения город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3,18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3,18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3,18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,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,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,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</a:tr>
              <a:tr h="74227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3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еспеченность города-курорта Железноводска Ставропольского края плоскостными соору­жениями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в. метров на 10000 населения город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6,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6,4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6,4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6,4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6,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6,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285852" y="142852"/>
            <a:ext cx="7643866" cy="100013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Развитие физической культуры и спорта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0" y="0"/>
            <a:ext cx="9144032" cy="6886558"/>
          </a:xfrm>
          <a:prstGeom prst="rect">
            <a:avLst/>
          </a:prstGeom>
          <a:noFill/>
        </p:spPr>
      </p:pic>
      <p:sp>
        <p:nvSpPr>
          <p:cNvPr id="18" name="Скругленный прямоугольник 17"/>
          <p:cNvSpPr/>
          <p:nvPr/>
        </p:nvSpPr>
        <p:spPr>
          <a:xfrm>
            <a:off x="1500166" y="1857364"/>
            <a:ext cx="7162800" cy="1785950"/>
          </a:xfrm>
          <a:prstGeom prst="roundRect">
            <a:avLst/>
          </a:prstGeom>
          <a:solidFill>
            <a:srgbClr val="92D050">
              <a:alpha val="80000"/>
            </a:srgb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just">
              <a:tabLst>
                <a:tab pos="6719888" algn="l"/>
                <a:tab pos="6908800" algn="l"/>
              </a:tabLst>
              <a:defRPr/>
            </a:pPr>
            <a:r>
              <a:rPr lang="ru-RU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строение гибкой и комплексной системы управления бюджетными расходами, увязанной с формированием муниципальных программ города-курорта Железноводска Ставропольского края на проектных принципах управления и обеспечивающей реализацию Указа Президента Российской Федерации от 07 мая 2018 года № </a:t>
            </a: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4.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500166" y="4714884"/>
            <a:ext cx="7162800" cy="1214446"/>
          </a:xfrm>
          <a:prstGeom prst="roundRect">
            <a:avLst/>
          </a:prstGeom>
          <a:solidFill>
            <a:srgbClr val="92D050">
              <a:alpha val="80000"/>
            </a:srgb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/>
            <a:r>
              <a:rPr lang="ru-RU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ие открытости и прозрачности информации об управлении общественными финансами, расширение практики общественного участия при обсуждении и принятии бюджетных решений, развитие принципов инициативного </a:t>
            </a:r>
            <a:r>
              <a:rPr lang="ru-RU" sz="18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ирования</a:t>
            </a:r>
            <a:r>
              <a:rPr lang="ru-RU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  <p:pic>
        <p:nvPicPr>
          <p:cNvPr id="33800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142976" y="214290"/>
            <a:ext cx="7786742" cy="135732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направления бюджетной политики города-курорта Железноводска Ставропольского края на 2019 год и плановый период 2020 и 2021 годов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500166" y="3929066"/>
            <a:ext cx="7162800" cy="500066"/>
          </a:xfrm>
          <a:prstGeom prst="roundRect">
            <a:avLst/>
          </a:prstGeom>
          <a:solidFill>
            <a:srgbClr val="92D050">
              <a:alpha val="80000"/>
            </a:srgb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эффективности расходования бюджетных средств.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4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428736"/>
            <a:ext cx="84963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963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428625" y="1989975"/>
          <a:ext cx="8429625" cy="4510859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514350"/>
                <a:gridCol w="2066925"/>
                <a:gridCol w="1044575"/>
                <a:gridCol w="685800"/>
                <a:gridCol w="635000"/>
                <a:gridCol w="638175"/>
                <a:gridCol w="760413"/>
                <a:gridCol w="1011237"/>
                <a:gridCol w="1073150"/>
              </a:tblGrid>
              <a:tr h="27082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а 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926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/>
                </a:tc>
              </a:tr>
              <a:tr h="375111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Цель 2 Программы: организация, проведение и участие в спортивно-массовых мероприятиях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045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дикатор достижения цели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граммы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</a:tr>
              <a:tr h="8552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.1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ведение спортивно-массовых мероприя­тий, участие в краевых и всероссийских меро­приятиях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174625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8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8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</a:tr>
              <a:tr h="8572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.2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исленность спортсме­нов, получивших спор­тивный разряд на ко­личество населения, занимающихся спор­том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,8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,8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</a:tr>
              <a:tr h="65527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.3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участников, сдавших нормативы (тесты) комплекса ГТО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астник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</a:tr>
            </a:tbl>
          </a:graphicData>
        </a:graphic>
      </p:graphicFrame>
      <p:pic>
        <p:nvPicPr>
          <p:cNvPr id="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214414" y="142852"/>
            <a:ext cx="7643866" cy="100013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Развитие физической культуры и спорта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643050"/>
            <a:ext cx="84963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0661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428625" y="2128918"/>
          <a:ext cx="8434708" cy="4514792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514350"/>
                <a:gridCol w="2066925"/>
                <a:gridCol w="1044575"/>
                <a:gridCol w="93980"/>
                <a:gridCol w="596903"/>
                <a:gridCol w="635000"/>
                <a:gridCol w="638175"/>
                <a:gridCol w="760413"/>
                <a:gridCol w="1011237"/>
                <a:gridCol w="1073150"/>
              </a:tblGrid>
              <a:tr h="2762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а 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204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</a:tr>
              <a:tr h="382588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2: «Подготовка и проведение спортивно-массовых мероприятий в городе-курорте Железноводске Ставрополь­ского края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12762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2 Программы: обеспечение доступности и массовости участников спортивных мероприятий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381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3587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.1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астников городских мероприятий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астник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2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28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3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3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3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3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5000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.2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астников всероссийских и краевых мероприятий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участник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2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2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11144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.3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дельный вес инвалидов города-курорта Железноводска Ставропольского края, систематически занимающихся физической культурой и спортом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от общего числа инвали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,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6683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.4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дельный вес участников сдавших нормативы (тесты) комплекса ГТО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от общего числа </a:t>
                      </a: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занимаю-щихс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107157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Развитие физической культуры и спорта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71683" name="Rectangle 2"/>
          <p:cNvSpPr>
            <a:spLocks noChangeArrowheads="1"/>
          </p:cNvSpPr>
          <p:nvPr/>
        </p:nvSpPr>
        <p:spPr bwMode="auto">
          <a:xfrm>
            <a:off x="142875" y="260350"/>
            <a:ext cx="9001125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D2A000"/>
              </a:solidFill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571612"/>
            <a:ext cx="84963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168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428625" y="2071678"/>
          <a:ext cx="8429625" cy="4467226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514350"/>
                <a:gridCol w="2066925"/>
                <a:gridCol w="1044575"/>
                <a:gridCol w="685800"/>
                <a:gridCol w="635000"/>
                <a:gridCol w="638175"/>
                <a:gridCol w="760413"/>
                <a:gridCol w="1011237"/>
                <a:gridCol w="1073150"/>
              </a:tblGrid>
              <a:tr h="2762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а 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1144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</a:tr>
              <a:tr h="382588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3 Программы: осуществление управленческой деятельности в сфере физической культуры и спорт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603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дикатор достижения цели 3 Программы: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59055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2381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.1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исполнения плана проверок при реализации внутриведомственного контрол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3587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.2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своевременно предоставленных отраслевыми (функциональными) органами администрации города-курорта Железноводска Ставропольского края отчетности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107157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Развитие физической культуры и спорта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285862"/>
            <a:ext cx="84963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428625" y="1552596"/>
          <a:ext cx="8438824" cy="5162552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498475"/>
                <a:gridCol w="2343150"/>
                <a:gridCol w="93980"/>
                <a:gridCol w="850580"/>
                <a:gridCol w="500066"/>
                <a:gridCol w="142876"/>
                <a:gridCol w="622615"/>
                <a:gridCol w="93980"/>
                <a:gridCol w="785818"/>
                <a:gridCol w="785818"/>
                <a:gridCol w="928694"/>
                <a:gridCol w="792772"/>
              </a:tblGrid>
              <a:tr h="2762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­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а измерен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9532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</a:tr>
              <a:tr h="642942">
                <a:tc gridSpan="1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3: «Обеспечение реализации муниципальной программы города-курорта Железноводска Ставропольского края «Развитие физической культуры и спорта в городе-курорте Железноводске Ставропольского края» и общепрограммные мероприятия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28628">
                <a:tc gridSpan="1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адача 1 подпрограммы 3 Программы: эффективное выполнение функций отраслевым (функциональным) органами администра­ц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2862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казатель решения задачи подпрограммы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68580" marR="68580" marT="0" marB="0" anchor="ctr" horzOverflow="overflow"/>
                </a:tc>
                <a:tc gridSpan="4"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 marT="0" marB="0" horzOverflow="overflow"/>
                </a:tc>
              </a:tr>
              <a:tr h="3587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.1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ность пре­доставления планового реестра расходных обязательств города-курорта Железноводска Ставропольского края на очередной год и плановый период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-менно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есвое-вре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свое-вре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­ мен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свое-вре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­ мен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свое-вре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­ мен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своевре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­ мен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своевре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­ </a:t>
                      </a: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мен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своевре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­ мен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5000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.2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ность представления обоснований бюджетных ассигнований на очередной финансовый год и плановый период в Финансовое управление администрации города-курорта Железноводска Ставропольского кра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-менно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есвое-вре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свое-вре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­ мен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свое-вре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­ мен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свое-вре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­ мен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своевре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­ мен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своевре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­ мен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своевре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­ мен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142976" y="142852"/>
            <a:ext cx="7643866" cy="107157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Развитие физической культуры и спорта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571612"/>
            <a:ext cx="84963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3733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357188" y="2071701"/>
          <a:ext cx="8512492" cy="3429001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596900"/>
                <a:gridCol w="131762"/>
                <a:gridCol w="2555875"/>
                <a:gridCol w="919163"/>
                <a:gridCol w="93980"/>
                <a:gridCol w="714375"/>
                <a:gridCol w="714375"/>
                <a:gridCol w="642937"/>
                <a:gridCol w="649288"/>
                <a:gridCol w="708025"/>
                <a:gridCol w="785812"/>
              </a:tblGrid>
              <a:tr h="396875"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аименование индика­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а измерен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88938"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520700">
                <a:tc gridSpan="1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дпрограмма 4: «Реконструкция объектов физической культуры и спорта в городе-курорте Железноводске Ставропольского края»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22288">
                <a:tc gridSpan="1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4 Программы: улучшение качества тренировочной базы для занятий спорто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572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.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: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1143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.1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величение спортивных секций по видам спорта, обеспечение города-курорта Железноводска Ставропольского края плоскостными сооружениями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142976" y="214290"/>
            <a:ext cx="7643866" cy="1143008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Развитие физической культуры и спорта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74755" name="Rectangle 2"/>
          <p:cNvSpPr>
            <a:spLocks noChangeArrowheads="1"/>
          </p:cNvSpPr>
          <p:nvPr/>
        </p:nvSpPr>
        <p:spPr bwMode="auto">
          <a:xfrm>
            <a:off x="-2214610" y="2285992"/>
            <a:ext cx="9001125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7030A0"/>
              </a:solidFill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214424"/>
            <a:ext cx="84963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475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357188" y="1465791"/>
          <a:ext cx="8501062" cy="5221235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500062"/>
                <a:gridCol w="3152775"/>
                <a:gridCol w="630238"/>
                <a:gridCol w="693737"/>
                <a:gridCol w="701675"/>
                <a:gridCol w="703263"/>
                <a:gridCol w="703262"/>
                <a:gridCol w="708025"/>
                <a:gridCol w="708025"/>
              </a:tblGrid>
              <a:tr h="206914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-ца       измере-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78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</a:tr>
              <a:tr h="233517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1 Программы: обеспечение устойчивого развития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2612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ндикатор достижения цели Программ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Arial Unicode MS" pitchFamily="34" charset="-128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</a:tr>
              <a:tr h="4386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.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разработанной градостроительной документации на территории города-курорта Железноводск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Arial Unicode MS" pitchFamily="34" charset="-128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</a:tr>
              <a:tr h="175441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дпрограмма 1  «Градостроительство в городе-курорте Железноводске Ставропольского края»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691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</a:tr>
              <a:tr h="2924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разработанных и утвержденных проектов планировки территор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</a:tr>
              <a:tr h="4386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2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разработанных и утвержденных нормативных правовых актов сфере градостроительной деятельност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</a:tr>
              <a:tr h="4386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муниципальных служащих, повысивших квалификацию в области градостроительного проектирования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</a:tr>
              <a:tr h="2941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4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снесенных (демонтированных) объектов некапитального строительств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к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</a:tr>
              <a:tr h="2924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снесенных (демонтированных) объектов капитального строительств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ъек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</a:tr>
              <a:tr h="202481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Цель 2 Программы: совершенствование организационных и нормативно-правовых механизмов в сфере градостроительств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691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ндикатор достижения цели Подпрограмм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Arial Unicode MS" pitchFamily="34" charset="-128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</a:tr>
              <a:tr h="2924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.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 исполнения плана проверок при реализации внутриведомственного контрол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</a:tr>
              <a:tr h="73100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.2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своевременно предоставленных отраслевыми (функциональными) органами администрации города-курорта Железноводска Ставропольского края отчетност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u="none" strike="noStrike" cap="none" normalizeH="0" baseline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71414"/>
            <a:ext cx="7715304" cy="1143008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градостроительства, строительства и архитектуры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071548"/>
            <a:ext cx="84963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5781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14313" y="1405573"/>
          <a:ext cx="8786812" cy="5381013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295275"/>
                <a:gridCol w="3659187"/>
                <a:gridCol w="146050"/>
                <a:gridCol w="114299"/>
                <a:gridCol w="617539"/>
                <a:gridCol w="512762"/>
                <a:gridCol w="146050"/>
                <a:gridCol w="660400"/>
                <a:gridCol w="731838"/>
                <a:gridCol w="658812"/>
                <a:gridCol w="512763"/>
                <a:gridCol w="146050"/>
                <a:gridCol w="585787"/>
              </a:tblGrid>
              <a:tr h="14844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1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1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rowSpan="2"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а       измерения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16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 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</a:tr>
              <a:tr h="489880">
                <a:tc gridSpan="1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2 «Обеспечение реализации муниципальной программы города-курорта Железноводска Ставропольского края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«Развитие градостроительства, строительства и архитектуры в городе-курорте Железноводске Ставропольского края» и общепрограммные мероприятия»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6897">
                <a:tc gridSpan="1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адача 1 подпрограммы 2 Программы: создание условий для финансового  обеспечения выполнения функций органа местного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амоуправления в области градостроительства, строительства и архитектуры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32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9670" marR="3967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9670" marR="3967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9670" marR="3967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9670" marR="3967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9670" marR="3967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937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.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сть предоставления планового реестра расходных обязательств города-курорта Железноводска Ставропольского края на очередной финансовый год и плановый период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937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.2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сть предоставления обоснований бюджетных ассигнований на очередной финансовый год и плановый период в Финансовое управление администрации города-курорта Железноводска Ставропольского края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65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horzOverflow="overflow"/>
                </a:tc>
                <a:tc gridSpan="1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3 Программы: создание долгосрочной и гарантированной системы поддержки молодых семей в решении жилищной проблемы с целью улучшения демографической ситуации в городе-курорте Железноводске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32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ндикатор достижения цели Подпрограммы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670" marR="3967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9670" marR="3967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9670" marR="3967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9670" marR="3967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9670" marR="3967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453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.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молодых семей, улучшивших жилищные условия, в том числе с помощью ипотечных жилищных кредитов (займов)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670" marR="3967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емей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32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horzOverflow="overflow"/>
                </a:tc>
                <a:tc gridSpan="1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3 «Обеспечение жильем молодых семей в городе-курорте Железноводске Ставропольского края»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5317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horzOverflow="overflow"/>
                </a:tc>
                <a:tc gridSpan="1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3 Программы: реализация права молодых семей на получение социальных выплат на приобретение жилья </a:t>
                      </a:r>
                      <a:r>
                        <a:rPr kumimoji="0" lang="ru-RU" sz="11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экономкласса</a:t>
                      </a: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или строительство индивидуального жилого дома </a:t>
                      </a:r>
                      <a:r>
                        <a:rPr kumimoji="0" lang="ru-RU" sz="11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экономкласса</a:t>
                      </a: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и создание условий для привлечения молодыми семьями собственных средств, дополнительных финансовых средств кредитных и других организаций, предоставляющих кредиты и займы, в том числе ипотечных жилищных кредитов для приобретения жилья или строительства индивидуального жиль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315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9670" marR="39670" marT="0" marB="0" anchor="ctr" horzOverflow="overflow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</a:pPr>
                      <a:endParaRPr lang="ru-RU"/>
                    </a:p>
                  </a:txBody>
                  <a:tcPr marL="39670" marR="3967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9670" marR="3967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9670" marR="3967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9670" marR="3967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453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.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 молодых семей, улучшивших жилищные условия, в общем количестве молодых семей, нуждающихся в улучшении жилищных условий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,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,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,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0,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0,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0,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453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.2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 реализованных свидетельств о праве на получение социальной выплаты на приобретение жилья в общем количестве этих свидетельств, выданных молодым семьям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142976" y="71414"/>
            <a:ext cx="7643866" cy="100013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градостроительства, строительства и архитектуры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-2928990" y="1571612"/>
            <a:ext cx="9001125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7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214424"/>
            <a:ext cx="84963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680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357218" y="1571627"/>
          <a:ext cx="8572500" cy="4929207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890588"/>
                <a:gridCol w="3057525"/>
                <a:gridCol w="889000"/>
                <a:gridCol w="600075"/>
                <a:gridCol w="669925"/>
                <a:gridCol w="668337"/>
                <a:gridCol w="600075"/>
                <a:gridCol w="598488"/>
                <a:gridCol w="598487"/>
              </a:tblGrid>
              <a:tr h="16034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а измерен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034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</a:tr>
              <a:tr h="165634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1 Программы: сохранение и развитие культуры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651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дикатор достижения цели Программы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</a:tr>
              <a:tr h="80172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.1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культурно-массовых мероприятий, проводимых муниципальными учреждениями культуры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7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7</a:t>
                      </a: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7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7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7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</a:tr>
              <a:tr h="247755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1: «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Культурно-досуговая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деятельность в городе-курорте Железноводске Ставропольского края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0689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1 Программы: развитие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культурно-досуговой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деятельности в городе-курорте Железноводске                             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03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казатели решения задач подпрограммы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</a:tr>
              <a:tr h="64137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1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астников клубных формирований (в том числе любительских объединений и формирований самодеятельного народного творчества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5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5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5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5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</a:tr>
              <a:tr h="4810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2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нообразие   тематической   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правленности проводимых меро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направле-н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8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8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</a:tr>
              <a:tr h="481034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3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емонстрация художественных и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хронико-документальных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фильм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кинопока-з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47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47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</a:tr>
              <a:tr h="3206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зрителе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2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2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</a:tr>
              <a:tr h="80172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4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амена подвесных потолков на деревянном каркасе на несгораемые с заменой электроосвещения (алюминиевой проводки) с установкой энергосберегающего оборудован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в. метр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16,7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16,7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16,7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16,7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16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16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142976" y="71414"/>
            <a:ext cx="7643866" cy="100013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Культура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214422"/>
            <a:ext cx="84963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7829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428656" y="1618826"/>
          <a:ext cx="8501062" cy="5096322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600075"/>
                <a:gridCol w="3200400"/>
                <a:gridCol w="904875"/>
                <a:gridCol w="608012"/>
                <a:gridCol w="681038"/>
                <a:gridCol w="681037"/>
                <a:gridCol w="608013"/>
                <a:gridCol w="609600"/>
                <a:gridCol w="608012"/>
              </a:tblGrid>
              <a:tr h="21850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а измерен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horzOverflow="overflow"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850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</a:tr>
              <a:tr h="487089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8000" algn="l"/>
                          <a:tab pos="59848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2 Программы: создание условий для обеспечения свободного доступа населения города-курорта Железноводска                           Ставропольского края к информации и культурным ценностя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6858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дикаторы достижения цели Программы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</a:tr>
              <a:tr h="7298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1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экземпляров библиотечного фонда общедоступных библиотек на 1000 человек насел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тысяч экземпляр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,9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,9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,9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,9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,9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,9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</a:tr>
              <a:tr h="49164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2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о читателей централизованной библиотечной систем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тысяч человек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</a:tr>
              <a:tr h="405149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2: «Развитие системы библиотечного обслуживания населения города-курорта Железноводска Ставропольского края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1492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2 подпрограммы 2 Программы: развитие библиотечной деятельности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4126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казатели решения задач подпрограммы: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</a:tr>
              <a:tr h="21850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.1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ъем библиотечного фонд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тысяч штук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14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14,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14,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14,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14,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14,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</a:tr>
              <a:tr h="438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.2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зарегистрированных пользователе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тысяч человек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</a:tr>
              <a:tr h="4385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.3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документов, выданных из фондов библиотек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тысяч штук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62,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62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62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62,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62,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62,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</a:tr>
              <a:tr h="52441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.4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новых поступлений в библиотечный фон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тысяч экземпляр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,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,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/>
                </a:tc>
              </a:tr>
            </a:tbl>
          </a:graphicData>
        </a:graphic>
      </p:graphicFrame>
      <p:pic>
        <p:nvPicPr>
          <p:cNvPr id="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71414"/>
            <a:ext cx="7643866" cy="100013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Культура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214424"/>
            <a:ext cx="84963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8853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85750" y="1506282"/>
          <a:ext cx="8572500" cy="5186912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612775"/>
                <a:gridCol w="3167063"/>
                <a:gridCol w="922337"/>
                <a:gridCol w="620713"/>
                <a:gridCol w="693737"/>
                <a:gridCol w="693738"/>
                <a:gridCol w="620712"/>
                <a:gridCol w="620713"/>
                <a:gridCol w="620712"/>
              </a:tblGrid>
              <a:tr h="18883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а измерен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883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horzOverflow="overflow"/>
                </a:tc>
              </a:tr>
              <a:tr h="260568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3 Программы: обеспечение безопасных и благоприятных условий для проведения общегородских меро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3129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дикатор достижения цели Программы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</a:tr>
              <a:tr h="54748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.1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исполнения плана проверок при реализации внутриведомственного контрол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</a:tr>
              <a:tr h="88965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.2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своевременно предоставленных отраслевыми (функциональными) органами администрации города-курорта Железноводска Ставропольского края отчетност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</a:tr>
              <a:tr h="379142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3: «Обеспечение реализации муниципальной программы города-курорта Железноводска Ставропольского края «Культура города-курорта Железноводска Ставропольского края» и общепрограммные мероприятия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28914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3 подпрограммы 3 Программы: эффективное выполнение функций отраслевыми (функциональными) органами                                администрац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621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казатели решения задач подпрограммы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</a:tr>
              <a:tr h="88965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.1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сть предоставления планового реестра расходных обязательств города-курорта Железноводска Ставропольского края на очередной финансовый год и плановый период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а/не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</a:tr>
              <a:tr h="75681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.2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сть предоставления обоснований бюджетных ассигнований на очередной финансовый год и плановый период, в Финансовое управление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а/не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/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142852"/>
            <a:ext cx="7643866" cy="100013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Культура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24" name="Скругленный прямоугольник 23"/>
          <p:cNvSpPr/>
          <p:nvPr/>
        </p:nvSpPr>
        <p:spPr>
          <a:xfrm>
            <a:off x="1214414" y="2143116"/>
            <a:ext cx="7162800" cy="1066800"/>
          </a:xfrm>
          <a:prstGeom prst="roundRect">
            <a:avLst/>
          </a:prstGeom>
          <a:solidFill>
            <a:srgbClr val="FFCC00">
              <a:alpha val="50000"/>
            </a:srgb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800" i="1" dirty="0" smtClean="0">
                <a:solidFill>
                  <a:schemeClr val="tx1"/>
                </a:solidFill>
              </a:rPr>
              <a:t>Реализация </a:t>
            </a:r>
            <a:r>
              <a:rPr lang="ru-RU" sz="1800" i="1" dirty="0">
                <a:solidFill>
                  <a:schemeClr val="tx1"/>
                </a:solidFill>
              </a:rPr>
              <a:t>новых принципов налогообложения по налогу на имущество физических лиц в зависимости от кадастровой стоимости </a:t>
            </a:r>
            <a:r>
              <a:rPr lang="ru-RU" sz="1800" i="1" dirty="0" smtClean="0">
                <a:solidFill>
                  <a:schemeClr val="tx1"/>
                </a:solidFill>
              </a:rPr>
              <a:t>объектов недвижимости.</a:t>
            </a:r>
            <a:endParaRPr lang="ru-RU" sz="1800" dirty="0">
              <a:solidFill>
                <a:schemeClr val="tx1"/>
              </a:solidFill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1285852" y="3571876"/>
            <a:ext cx="7162800" cy="500066"/>
          </a:xfrm>
          <a:prstGeom prst="roundRect">
            <a:avLst/>
          </a:prstGeom>
          <a:solidFill>
            <a:srgbClr val="FFCC00">
              <a:alpha val="50000"/>
            </a:srgb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800" i="1" dirty="0">
                <a:solidFill>
                  <a:schemeClr val="tx1"/>
                </a:solidFill>
              </a:rPr>
              <a:t> Повышение эффективности управления муниципальными активами.</a:t>
            </a:r>
            <a:endParaRPr lang="ru-RU" sz="1800" dirty="0">
              <a:solidFill>
                <a:schemeClr val="tx1"/>
              </a:solidFill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285852" y="4500570"/>
            <a:ext cx="7162800" cy="500066"/>
          </a:xfrm>
          <a:prstGeom prst="roundRect">
            <a:avLst/>
          </a:prstGeom>
          <a:solidFill>
            <a:srgbClr val="FFCC00">
              <a:alpha val="50000"/>
            </a:srgbClr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800" i="1" dirty="0">
                <a:solidFill>
                  <a:schemeClr val="tx1"/>
                </a:solidFill>
              </a:rPr>
              <a:t>Совершенствование налогового администрирования.</a:t>
            </a:r>
            <a:endParaRPr lang="ru-RU" sz="1800" dirty="0">
              <a:solidFill>
                <a:schemeClr val="tx1"/>
              </a:solidFill>
            </a:endParaRPr>
          </a:p>
        </p:txBody>
      </p:sp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142976" y="214290"/>
            <a:ext cx="7786742" cy="135732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направления налоговой политики города-курорта Железноводска Ставропольского края на 2019 год и плановый период 2020 и 2021 годов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34832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79875" name="Rectangle 2"/>
          <p:cNvSpPr>
            <a:spLocks noChangeArrowheads="1"/>
          </p:cNvSpPr>
          <p:nvPr/>
        </p:nvSpPr>
        <p:spPr bwMode="auto">
          <a:xfrm>
            <a:off x="-2571800" y="2357430"/>
            <a:ext cx="9001125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660033"/>
              </a:solidFill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214424"/>
            <a:ext cx="84963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987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85720" y="1486566"/>
          <a:ext cx="8572500" cy="5288966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666750"/>
                <a:gridCol w="3260725"/>
                <a:gridCol w="911225"/>
                <a:gridCol w="685800"/>
                <a:gridCol w="838200"/>
                <a:gridCol w="838200"/>
                <a:gridCol w="685800"/>
                <a:gridCol w="685800"/>
              </a:tblGrid>
              <a:tr h="17350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350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</a:tr>
              <a:tr h="292224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1 Программы: обеспечение благоприятных условий для развития малого и среднего  предпринимательства в городе-курорте Железноводске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1671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дикатор достижения цели Программ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</a:tr>
              <a:tr h="39152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емп роста выручки от реализации товаров, выполнения работ и оказания услуг малых и средних пред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ов к предыдущему год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4,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5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6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6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6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</a:tr>
              <a:tr h="290285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1 «Развитие малого и среднего предпринимательства в городе-курорте Железноводске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авропольского края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38335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1 Программы: повышение предпринимательской активности и развитие малого и среднего предпринимательства, совершенствование правовых, экономических и организационных условий для устойчивого повышения предпринимательской активности в городе-курорте Железноводске Ставропольског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53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казатель решения задачи подпрограммы 1: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</a:tr>
              <a:tr h="29222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субъектов малого и среднего предприниматель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0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71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72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72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72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</a:tr>
              <a:tr h="73055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среднесписочной численности работников (без внешних совместителей) малых и средних предприятий в среднесписочной численности работников (без внешних совместителей) всех предприятий и организац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3,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,1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,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4,3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4,3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</a:tr>
              <a:tr h="3841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о субъектов малого и среднего предпринимательства в расчете на 10 тыс. 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11,2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12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14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14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14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</a:tr>
              <a:tr h="347016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2 Программы: обеспечение для населения города-курорта Железноводска Ставропольского края доступности потребительского рынка, формирование благоприятных возможностей для товаропроизводителей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053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ндикатор достижения цели Программ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</a:tr>
              <a:tr h="99705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еспеченность населения города на 1000 жителей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торговыми площадями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садочными местами в предприятиях общественного питания в общедоступной сети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бытовыми услугами (рабочих мест предприятий бытового обслуживания)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мет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40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50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2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60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4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60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4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60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4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</a:tr>
            </a:tbl>
          </a:graphicData>
        </a:graphic>
      </p:graphicFrame>
      <p:pic>
        <p:nvPicPr>
          <p:cNvPr id="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142852"/>
            <a:ext cx="7643866" cy="107157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экономики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357188" y="1142986"/>
            <a:ext cx="84963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0900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/>
        </p:nvGraphicFramePr>
        <p:xfrm>
          <a:off x="214313" y="1425486"/>
          <a:ext cx="8715375" cy="5354366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677862"/>
                <a:gridCol w="3316288"/>
                <a:gridCol w="925512"/>
                <a:gridCol w="696913"/>
                <a:gridCol w="852487"/>
                <a:gridCol w="852488"/>
                <a:gridCol w="696912"/>
                <a:gridCol w="696913"/>
              </a:tblGrid>
              <a:tr h="16657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657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</a:tr>
              <a:tr h="333143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дпрограмма 2 «Развитие потребительского рынка и услуг города-курорта Железноводск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тавропольского края»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01069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2 Программы: формирование современной инфраструктуры розничной торговли, общественного питания и бытового обслуживания населения, создание и поддержание условий для равной добросовестной конкуренции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49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казатель решения задачи подпрограммы 2: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</a:tr>
              <a:tr h="1749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бытовых услуг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лн.руб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5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2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2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2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</a:tr>
              <a:tr h="1749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орот розничной торговли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млн.рубле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938,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597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301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301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301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</a:tr>
              <a:tr h="29269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3 Программы: устойчивое развитие конкурентоспособной санаторно-курортной и туристско-рекреационной сферы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49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ндикатор достижения цели Программ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</a:tr>
              <a:tr h="33314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туристов, посетивших город-курорт Железноводск Ставропольского кра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чел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8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9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9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1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1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</a:tr>
              <a:tr h="29245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дпрограмма 3 «Развитие санаторно-курортного и туристско-рекреационного комплекса в городе-курорте Железноводске Ставропольского края»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8399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3 Программы: создание условий для привлечения туристов и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рекреантов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, в том числе на туры одного дня в город-курорт Железноводск Ставропольского края, улучшение качества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санаторно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–курортных услуг и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туристско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–рекреационного продукта, создание и продвижение бренда города-курорта Железноводска Ставропольского края в сфере курорта и туризм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49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казатель решения задачи подпрограммы 3: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</a:tr>
              <a:tr h="58423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койко–мест средств размещения санаторно-курортного и туристско-рекреационного комплекса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0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08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</a:tr>
              <a:tr h="50106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.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работающих в санаторно-курортной и туристско-рекреационной сфере города–курорта Железноводска Ставропольского кра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7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8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</a:tr>
              <a:tr h="29269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.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изводительность водозаборных сооружен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тыс. куб. м/сутки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,96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,96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,9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,9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,9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</a:tr>
              <a:tr h="29269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.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тяженность линий транспортировки и распространения вод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м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7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7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7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/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142852"/>
            <a:ext cx="7643866" cy="100013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экономики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81923" name="Rectangle 2"/>
          <p:cNvSpPr>
            <a:spLocks noChangeArrowheads="1"/>
          </p:cNvSpPr>
          <p:nvPr/>
        </p:nvSpPr>
        <p:spPr bwMode="auto">
          <a:xfrm>
            <a:off x="-2786114" y="1428736"/>
            <a:ext cx="9001125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78B832"/>
              </a:solidFill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071547"/>
            <a:ext cx="849630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192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85780" y="1320113"/>
          <a:ext cx="8643938" cy="5519361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427038"/>
                <a:gridCol w="4268787"/>
                <a:gridCol w="804863"/>
                <a:gridCol w="571482"/>
                <a:gridCol w="500096"/>
                <a:gridCol w="500066"/>
                <a:gridCol w="428606"/>
                <a:gridCol w="571500"/>
                <a:gridCol w="571500"/>
              </a:tblGrid>
              <a:tr h="14800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а измерен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</a:tr>
              <a:tr h="295999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1 Программы: повышение уровня  комплексного благоустройства территор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88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дикаторы достижения цели Программ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28037" marR="28037" marT="0" marB="0" horzOverflow="overflow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</a:pPr>
                      <a:endParaRPr lang="ru-RU"/>
                    </a:p>
                  </a:txBody>
                  <a:tcPr marL="28037" marR="28037" marT="0" marB="0" horzOverflow="overflow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</a:pPr>
                      <a:endParaRPr lang="ru-RU" dirty="0"/>
                    </a:p>
                  </a:txBody>
                  <a:tcPr marL="28037" marR="28037" marT="0" marB="0" horzOverflow="overflow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</a:pPr>
                      <a:endParaRPr lang="ru-RU" dirty="0"/>
                    </a:p>
                  </a:txBody>
                  <a:tcPr marL="28037" marR="28037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28037" marR="28037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28037" marR="28037" marT="0" marB="0" horzOverflow="overflow"/>
                </a:tc>
              </a:tr>
              <a:tr h="29599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территории города, на которой проводятся мероприятия по благоустройств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,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4,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4,6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4,6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</a:tr>
              <a:tr h="44399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кращение количества обращений граждан по вопросам благоустройства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8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7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6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5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5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5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</a:tr>
              <a:tr h="148000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1: «Благоустройство территории города-курорта Железноводска Ставропольского края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5999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1 Программы: формирование в городе-курорте Железноводске Ставропольского края среды, благоприятной для проживания насел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837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28037" marR="28037" marT="0" marB="0" horzOverflow="overflow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</a:pPr>
                      <a:endParaRPr lang="ru-RU"/>
                    </a:p>
                  </a:txBody>
                  <a:tcPr marL="28037" marR="28037" marT="0" marB="0" horzOverflow="overflow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</a:pPr>
                      <a:endParaRPr lang="ru-RU" dirty="0"/>
                    </a:p>
                  </a:txBody>
                  <a:tcPr marL="28037" marR="28037" marT="0" marB="0" horzOverflow="overflow"/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</a:pPr>
                      <a:endParaRPr lang="ru-RU" dirty="0"/>
                    </a:p>
                  </a:txBody>
                  <a:tcPr marL="28037" marR="28037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28037" marR="28037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28037" marR="28037" marT="0" marB="0" horzOverflow="overflow"/>
                </a:tc>
              </a:tr>
              <a:tr h="29599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роительство хозяйственно-бытовой канализации по ул.Горьког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</a:tr>
              <a:tr h="29599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роительство хозяйственно-бытовой канализации по ул.Красико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</a:tr>
              <a:tr h="29599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многоквартирных домов, в которых проведен ремонт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</a:tr>
              <a:tr h="44399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щая площадь жилых помещений аварийных многоквартирных домов на территор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в.м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 386,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</a:tr>
              <a:tr h="44399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щее число граждан, переселенных из аварийных многоквартирных домов на территор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ел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</a:tr>
              <a:tr h="44399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территории Курортного парка города-курорта Железноводска Ставропольского края, на которой проводятся мероприятия по благоустройству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9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2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2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</a:tr>
              <a:tr h="44399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территории городского парка города-курорта Железноводска Ставропольского края, на которой проводятся мероприятия по благоустройств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</a:tr>
              <a:tr h="44399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оплаты заявок на предоставление субсидии юридическим лицам на возмещение затрат по оказанию банных услуг льготным категориям граждан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</a:tr>
              <a:tr h="1689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освещенности дорог к общей протяженности дорог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4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6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</a:tr>
            </a:tbl>
          </a:graphicData>
        </a:graphic>
      </p:graphicFrame>
      <p:pic>
        <p:nvPicPr>
          <p:cNvPr id="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71438"/>
            <a:ext cx="7643866" cy="1000108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жилищно-коммунального хозяйства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500176"/>
            <a:ext cx="84963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2949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285720" y="1785926"/>
          <a:ext cx="8643938" cy="4750753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427038"/>
                <a:gridCol w="4268787"/>
                <a:gridCol w="590557"/>
                <a:gridCol w="642931"/>
                <a:gridCol w="500062"/>
                <a:gridCol w="500063"/>
                <a:gridCol w="571500"/>
                <a:gridCol w="571500"/>
                <a:gridCol w="571500"/>
              </a:tblGrid>
              <a:tr h="6191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Едини-ца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478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</a:tr>
              <a:tr h="7461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2 Программы: формирование в городе-курорте Железноводске Ставропольского края условий для повышения эффективности использования энергетических ресурсов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6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ндикаторы достижения цели Программ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2984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кращение потребления электрической энергии на освещаемой территории 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Вт./ч/кв.м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223838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2: «Энергосбережение и повышение энергетической эффективности на территории города-курорта Железноводска Ставропольского края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191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2 Программы: повышение эффективности энергопотребления путем внедрения современных энергосберегающих технологий и оборудова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238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1635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.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становленных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энергоэффективных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светильников на улицах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2238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.2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становленных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энергоэффективных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светильников в административных зданиях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2238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лощадь оконных блоков, замененных в целях повышения энергетической эффективност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1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2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2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2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1238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оля замененных оконных блоков в общем количестве оконных блоков, требующих замены в образовательных учреждениях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,5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5,6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5,6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5,6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3921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Увеличение доли образовательных организаций со стопроцентной заменой оконных блок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8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214314"/>
            <a:ext cx="7643866" cy="1071546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жилищно-коммунального хозяйства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0" y="-28558"/>
            <a:ext cx="9144032" cy="6886558"/>
          </a:xfrm>
          <a:prstGeom prst="rect">
            <a:avLst/>
          </a:prstGeom>
          <a:noFill/>
        </p:spPr>
      </p:pic>
      <p:sp>
        <p:nvSpPr>
          <p:cNvPr id="83971" name="Rectangle 2"/>
          <p:cNvSpPr>
            <a:spLocks noChangeArrowheads="1"/>
          </p:cNvSpPr>
          <p:nvPr/>
        </p:nvSpPr>
        <p:spPr bwMode="auto">
          <a:xfrm>
            <a:off x="1071538" y="142875"/>
            <a:ext cx="8072462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78B832"/>
              </a:solidFill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214424"/>
            <a:ext cx="84963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3973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285750" y="1513546"/>
          <a:ext cx="8643938" cy="5273040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427038"/>
                <a:gridCol w="4268787"/>
                <a:gridCol w="447681"/>
                <a:gridCol w="642942"/>
                <a:gridCol w="642927"/>
                <a:gridCol w="500063"/>
                <a:gridCol w="571500"/>
                <a:gridCol w="571500"/>
                <a:gridCol w="571500"/>
              </a:tblGrid>
              <a:tr h="6191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Еди-ница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изме-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478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/>
                </a:tc>
              </a:tr>
              <a:tr h="7461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3 Программы: создание условий для осуществления управления городским хозяйством и нормативно-правового регулирования в сфере жилищно-коммунального хозяй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дикаторы достижения цели Программ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2984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.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разработанных и утвержденных нормативных правовых актов в соответствии с законодательством Российской Федерации, законодательством Ставропольского края, в данной сфере деятельност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223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.2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исполнения плана проверок при реализации внутриведомственного контрол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619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.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 своевременно представленных отраслевыми (функциональными) органами администрации города-курорта Железноводска Ставропольского края отчет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123825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3: «Обеспечение реализации муниципальной программы города-курорта Железноводска Ставропольского края «Развитие жилищно-коммунального хозяйства в городе-курорте Железноводске Ставропольского края» и общепрограммные мероприятия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351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3 Программы: эффективное выполнение функций отраслевым (функциональным) органом администрац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238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223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.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сть представления планового реестра расходных обязательств города-курорта Железноводска Ставропольского края на очередной финансовый год и на плановый период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-вре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-вре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свое-вре-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-вре-мен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-вре-мен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-вре-мен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1238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.2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временность представления обоснований бюджетных ассигнований на очередной финансовый год и плановый период в Финансовое управление администрац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-вре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свое-вре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свое-вре-мен-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-вре-мен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вое-вре-мен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свое-вре-менн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71414"/>
            <a:ext cx="7643866" cy="107157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жилищно-коммунального хозяйства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357299"/>
            <a:ext cx="849630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4996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14313" y="1611350"/>
          <a:ext cx="8786812" cy="5095856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368300"/>
                <a:gridCol w="379412"/>
                <a:gridCol w="3967165"/>
                <a:gridCol w="153985"/>
                <a:gridCol w="338138"/>
                <a:gridCol w="79381"/>
                <a:gridCol w="477831"/>
                <a:gridCol w="85725"/>
                <a:gridCol w="642938"/>
                <a:gridCol w="642937"/>
                <a:gridCol w="558800"/>
                <a:gridCol w="458788"/>
                <a:gridCol w="101600"/>
                <a:gridCol w="531812"/>
              </a:tblGrid>
              <a:tr h="149803"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1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1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rowSpan="2"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Ед-ца</a:t>
                      </a: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ru-RU" sz="11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изме-рени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rowSpan="2"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4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4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100000" b="100000"/>
                      </a:path>
                      <a:tileRect t="-100000" r="-100000"/>
                    </a:gra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3150"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-85725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</a:tr>
              <a:tr h="298079">
                <a:tc gridSpan="1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1 Программы: Развитие транспортной системы и обеспечение безопасности дорожного движения в городе-курорте Железноводске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356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.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дикаторы достижения цели Программы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6430" marR="36430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6430" marR="3643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</a:tr>
              <a:tr h="47539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.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Протяженность автомобильных дорог общего пользования местного значения на территории города-курорта Железноводска Ставропольского края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b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м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3,5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1,4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0,54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8,58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8,58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8,58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</a:tr>
              <a:tr h="31030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.2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тяженность автомобильных дорог общего пользования местного значения не отвечающих нормативным требованиям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b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м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,6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,727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9,327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,82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,82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,82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</a:tr>
              <a:tr h="298079">
                <a:tc gridSpan="1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1: «Дорожное хозяйство и обеспечение безопасности дорожного движения в городе-курорте Железноводске Ставропольского края»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9803">
                <a:tc gridSpan="1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1 Программы: Повышение культуры вождения на территории города-курорта Железноводска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356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6430" marR="36430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6430" marR="3643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80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кращение количества дорожно-транспортных происшествий относительно предыдущего года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80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2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кращение количества раненых при дорожно-транспортных происшествиях относительно предыдущего года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80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3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кращение количества погибших при дорожно-транспортных происшествиях относительно предыдущего года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8079">
                <a:tc gridSpan="1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2 подпрограммы 1 Программы: Обеспечение функционирования существующей сети автомобильных дорог общего пользования местного значени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356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.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6430" marR="36430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36430" marR="3643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80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.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 автомобильных дорог муниципального значения прошедших паспоритизацию объекта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5</a:t>
                      </a:r>
                    </a:p>
                  </a:txBody>
                  <a:tcPr marL="36430" marR="3643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</a:p>
                  </a:txBody>
                  <a:tcPr marL="36430" marR="3643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225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.2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 дорожно-транспортных происшествий, зарегестрированных на автомобильных дорогах муниципального значения, из-за сопутствующих дорожных условий в общем количестве дорожно-транспортных происшествий в городе-курорте Железноводске  Ставропольского края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8,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5,7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,7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1,7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1,7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1,7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004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.3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 пострадавших в результате дорожно-транспортных происшествий, зарегестрированных на автомобильных дорогах муниципального значения, из за сопутствующих дорожных условий в общем количестве пострадавших в результате дорожно-транспортных происшествий в городе-курорте Железноводске Ставропольского края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9</a:t>
                      </a:r>
                    </a:p>
                  </a:txBody>
                  <a:tcPr marL="36430" marR="3643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</a:t>
                      </a:r>
                    </a:p>
                  </a:txBody>
                  <a:tcPr marL="36430" marR="3643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6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6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5163" name="Rectangle 2"/>
          <p:cNvSpPr>
            <a:spLocks noChangeArrowheads="1"/>
          </p:cNvSpPr>
          <p:nvPr/>
        </p:nvSpPr>
        <p:spPr bwMode="auto">
          <a:xfrm>
            <a:off x="142875" y="0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FF6699"/>
              </a:solidFill>
            </a:endParaRPr>
          </a:p>
        </p:txBody>
      </p:sp>
      <p:pic>
        <p:nvPicPr>
          <p:cNvPr id="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000100" y="71438"/>
            <a:ext cx="7929618" cy="128586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транспортной системы и охрана окружающей среды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428738"/>
            <a:ext cx="84963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6020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85720" y="1683833"/>
          <a:ext cx="8572500" cy="5087893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428625"/>
                <a:gridCol w="3929063"/>
                <a:gridCol w="679450"/>
                <a:gridCol w="623887"/>
                <a:gridCol w="622300"/>
                <a:gridCol w="622300"/>
                <a:gridCol w="542925"/>
                <a:gridCol w="541338"/>
                <a:gridCol w="582612"/>
              </a:tblGrid>
              <a:tr h="16751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а измерен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6111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-85725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</a:tr>
              <a:tr h="8716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погибших в результате дорожно-транспортных происшествий, зарегистрированных на автомобильных дорогах муниципального значения, из за сопутствующих дорожных условий в общем количестве погибших в результате дорожно-транспортных происшествий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7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</a:tr>
              <a:tr h="43641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.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величение количества дворовых территорий многоквартирных домов приведенных в нормативное состоя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</a:tr>
              <a:tr h="43641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.6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Увеличение площади дворовых территорий многоквартирных домов приведенных в нормативное состояние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тыс.кв.м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3,422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</a:tr>
              <a:tr h="72659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величение протяженности автомобильных дорог общего пользования местного значения в границах города-курорта Железноводска Ставропольского края и искусственных сооружений на них приведенных в нормативное состоя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2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</a:tr>
              <a:tr h="23211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2 Программы: Обеспечение санитарно-эпидемиологического благополучия на территор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042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ндикаторы достижения цели Программ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4548" marR="4454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4548" marR="4454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horzOverflow="overflow"/>
                </a:tc>
              </a:tr>
              <a:tr h="43641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лощадь территории, города-курорта Железноводска, на которой проводятся мероприятия по борьбе с  воздействием опасных для экологии факторов 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в. м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 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 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 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 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 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 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</a:tr>
              <a:tr h="167517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2: «Экологическая безопасность города-курорта Железноводска Ставропольского края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1329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2 Программы: Охрана окружающей среды и обеспечение экологической безопасност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9033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4548" marR="4454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4548" marR="4454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horzOverflow="overflow"/>
                </a:tc>
              </a:tr>
              <a:tr h="33503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пожаров в лесных массивах, относящихся к городу-курорту Железноводску Ставропольского кра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</a:tr>
              <a:tr h="43641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жегодная ликвидация стихийных свалок на территории муниципального образования город-курорт Железноводск  Ставропольского кра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/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214382" y="71438"/>
            <a:ext cx="7715336" cy="1357298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транспортной системы и охрана окружающей среды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87043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3333FF"/>
              </a:solidFill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357300"/>
            <a:ext cx="84963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704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85780" y="1827583"/>
          <a:ext cx="8572500" cy="4744689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428625"/>
                <a:gridCol w="87312"/>
                <a:gridCol w="2967038"/>
                <a:gridCol w="88900"/>
                <a:gridCol w="863600"/>
                <a:gridCol w="561975"/>
                <a:gridCol w="706437"/>
                <a:gridCol w="722313"/>
                <a:gridCol w="722312"/>
                <a:gridCol w="674688"/>
                <a:gridCol w="749300"/>
              </a:tblGrid>
              <a:tr h="196850"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30498"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</a:tr>
              <a:tr h="322263">
                <a:tc gridSpan="1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1 Программы: обеспечение безопасности населения, защита жизни и здоровья граждан, их прав и свобод на территории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3365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дикаторы достижения цели Программы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243" marR="43243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3243" marR="432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horzOverflow="overflow"/>
                </a:tc>
              </a:tr>
              <a:tr h="53083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еспечение повышения уровня защищенности объектов и мест с массовым пребыванием граждан на территор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243" marR="43243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ов к предыдущему год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</a:tr>
              <a:tr h="173038">
                <a:tc gridSpan="1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1 «Безопасный город-курорт Железноводск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3700">
                <a:tc gridSpan="1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1 Программы: повышение уровня антитеррористической защищенности учреждений образования, здравоохранения, санаторно-курортного комплекса, объектов социально-бытового назначения, мест массового пребывания граждан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75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</a:p>
                  </a:txBody>
                  <a:tcPr marL="43243" marR="43243" marT="0" marB="0"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3243" marR="432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horzOverflow="overflow"/>
                </a:tc>
              </a:tr>
              <a:tr h="5905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1</a:t>
                      </a:r>
                    </a:p>
                  </a:txBody>
                  <a:tcPr marL="43243" marR="43243" marT="0" marB="0"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мещение информационных материалов на объектах с массовым пребыванием граждан о действиях в случае совершения актов террористической направленности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b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</a:t>
                      </a: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</a:t>
                      </a: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5</a:t>
                      </a: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0</a:t>
                      </a: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</a:tr>
              <a:tr h="7874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2</a:t>
                      </a:r>
                    </a:p>
                  </a:txBody>
                  <a:tcPr marL="43243" marR="43243" marT="0" marB="0"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снащенность системами видеонаблюдения муниципальных образовательных учреждений, объектов культурного и социально-бытового назначения и мест наибольшего нахождения граждан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b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</a:t>
                      </a: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</a:t>
                      </a: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</a:t>
                      </a:r>
                    </a:p>
                  </a:txBody>
                  <a:tcPr marL="43243" marR="43243" marT="0" marB="0" anchor="ctr" horzOverflow="overflow"/>
                </a:tc>
              </a:tr>
              <a:tr h="3937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3</a:t>
                      </a:r>
                    </a:p>
                  </a:txBody>
                  <a:tcPr marL="43243" marR="43243" marT="0" marB="0" anchor="ctr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ведение семинаров и совещаний, круглых столов и собраний по вопросам профилактики терроризма и экстремизма с учащимися образовательных учреждений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b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5</a:t>
                      </a: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0</a:t>
                      </a: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0</a:t>
                      </a: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5</a:t>
                      </a: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0</a:t>
                      </a: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5</a:t>
                      </a:r>
                    </a:p>
                  </a:txBody>
                  <a:tcPr marL="43243" marR="43243" marT="0" marB="0" anchor="ctr" horzOverflow="overflow"/>
                </a:tc>
              </a:tr>
            </a:tbl>
          </a:graphicData>
        </a:graphic>
      </p:graphicFrame>
      <p:pic>
        <p:nvPicPr>
          <p:cNvPr id="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071538" y="142852"/>
            <a:ext cx="7858180" cy="107157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Создание условий безопасной жизни населения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357300"/>
            <a:ext cx="84963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8069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285781" y="1730708"/>
          <a:ext cx="8643937" cy="4912049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525462"/>
                <a:gridCol w="3030538"/>
                <a:gridCol w="973137"/>
                <a:gridCol w="573088"/>
                <a:gridCol w="722312"/>
                <a:gridCol w="736600"/>
                <a:gridCol w="736600"/>
                <a:gridCol w="688975"/>
                <a:gridCol w="657225"/>
              </a:tblGrid>
              <a:tr h="21590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146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</a:tr>
              <a:tr h="17621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2 Программы: профилактика правонарушений и преступлений на территории города-курорта Железноводск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62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ндикаторы достижения цели Программы: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</a:tr>
              <a:tr h="54228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1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Снижение уровня совершенных преступлений и правонарушен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ов к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редыдуще-му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год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5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,0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,7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,8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,9</a:t>
                      </a:r>
                    </a:p>
                  </a:txBody>
                  <a:tcPr marL="43200" marR="43200" marT="0" marB="0" horzOverflow="overflow"/>
                </a:tc>
              </a:tr>
              <a:tr h="4318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2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убликация в средствах массовой информации материалов антитеррористической направленности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b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</a:t>
                      </a:r>
                    </a:p>
                  </a:txBody>
                  <a:tcPr marL="43200" marR="43200" marT="0" marB="0" horzOverflow="overflow"/>
                </a:tc>
              </a:tr>
              <a:tr h="215900"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2 «Профилактика правонарушений в городе-курорте Железноводске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</a:tr>
              <a:tr h="352425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2 Программы: снижение уровня преступности на территории города-курорта Железноводск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62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казатель решения задачи подпрограммы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</a:tr>
              <a:tr h="48641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.1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ведение встреч и бесед с учащимися образовательных учреждений по вопросам профилактики правонарушен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0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0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5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2</a:t>
                      </a:r>
                    </a:p>
                  </a:txBody>
                  <a:tcPr marL="43200" marR="43200" marT="0" marB="0" horzOverflow="overflow"/>
                </a:tc>
              </a:tr>
              <a:tr h="42862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.2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рганизация в высших учебных заведениях конкурсов по тематике профилактики правонарушен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</a:t>
                      </a:r>
                    </a:p>
                  </a:txBody>
                  <a:tcPr marL="43200" marR="43200" marT="0" marB="0" horzOverflow="overflow"/>
                </a:tc>
              </a:tr>
              <a:tr h="39884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.3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убликация в средствах массовой информации материалов по профилактике правонарушен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</a:p>
                  </a:txBody>
                  <a:tcPr marL="43200" marR="43200" marT="0" marB="0" horzOverflow="overflow"/>
                </a:tc>
              </a:tr>
              <a:tr h="36671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3 Программы «Поддержка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Железноводского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городского казачьего общества Ставропольского окружного казачьего общества Терского войскового казачьего общества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62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ндикаторы достижения цели Программы: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</a:tr>
              <a:tr h="2643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.1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величение количества рейдов казаков с офицерским составом поли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</a:t>
                      </a:r>
                    </a:p>
                  </a:txBody>
                  <a:tcPr marL="43200" marR="4320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</a:p>
                  </a:txBody>
                  <a:tcPr marL="43200" marR="43200" marT="0" marB="0" horzOverflow="overflow"/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071538" y="142852"/>
            <a:ext cx="7858180" cy="100013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Создание условий безопасной жизни населения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214424"/>
            <a:ext cx="84963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9093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85720" y="1531159"/>
          <a:ext cx="8643938" cy="5198251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525463"/>
                <a:gridCol w="3030537"/>
                <a:gridCol w="973138"/>
                <a:gridCol w="573087"/>
                <a:gridCol w="722313"/>
                <a:gridCol w="736600"/>
                <a:gridCol w="736600"/>
                <a:gridCol w="688975"/>
                <a:gridCol w="657225"/>
              </a:tblGrid>
              <a:tr h="18668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1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1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11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/>
                </a:tc>
              </a:tr>
              <a:tr h="191915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дпрограмма 3 «Поддержка ЖГКО СОКО ТВКО»</a:t>
                      </a:r>
                    </a:p>
                  </a:txBody>
                  <a:tcPr marL="43200" marR="4320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57190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3: содействие ЖГКО СОКО ТВКО в привлечении казаков к несению государственной и иной службы в соответствии с федеральным законодательством и законодательством Ставропольского края.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565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казатель решения задачи подпрограммы: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</a:tr>
              <a:tr h="21882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.1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детей, занимающихся в военно-патриотическом клубе «Русичи»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5</a:t>
                      </a:r>
                    </a:p>
                  </a:txBody>
                  <a:tcPr marL="43200" marR="43200" marT="0" marB="0" anchor="ctr" horzOverflow="overflow"/>
                </a:tc>
              </a:tr>
              <a:tr h="75919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.2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детей, привлекаемых к проведению мероприятий, направленных на пропаганду казачьей истории и культуры (конкурс рисунка, конкурс на лучший реферат, конкурс на лучшее стихотворение)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5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</a:tr>
              <a:tr h="31688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.3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убликация в средствах массовой информации материалов по казачеству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</a:p>
                  </a:txBody>
                  <a:tcPr marL="43200" marR="43200" marT="0" marB="0" anchor="ctr" horzOverflow="overflow"/>
                </a:tc>
              </a:tr>
              <a:tr h="377502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4 подпрограммы: создание условий для осуществления и нормативного правового регулирования в сфере развития гражданской обороны, мобилизационной подготовки и антитеррористической защищенности города-курорта Железноводска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5752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4 :«Профилактика терроризма и экстремизма, а также минимизация и (или) ликвидация последствий проявления терроризма и экстремизма на территории города-курорта Железноводска Ставропольского края»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668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7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ндикаторы достижения цели Программы: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</a:tr>
              <a:tr h="45179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7.1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вышение эффективности деятельности администрации города-курорта Железноводска Ставропольского края в работе по вопросам профилактики терроризма и экстремизма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0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</a:p>
                  </a:txBody>
                  <a:tcPr marL="43200" marR="43200" marT="0" marB="0" anchor="ctr" horzOverflow="overflow"/>
                </a:tc>
              </a:tr>
              <a:tr h="496975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4: эффективное выполнение функций администрации города-курорта Железноводска Ставропольского края по совершенствованию организационных и правовых механизмов в сфере развития гражданской обороны, мобилизационной подготовки и антитеррористической защищенности города-курорта Железноводска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565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казатель решения задачи подпрограммы: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</a:tr>
              <a:tr h="45560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.1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спространение агитационных материалов, посвященных пропаганде борьбы с терроризмом и экстремизмом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охвата населени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8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5</a:t>
                      </a:r>
                    </a:p>
                  </a:txBody>
                  <a:tcPr marL="43200" marR="4320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5</a:t>
                      </a:r>
                    </a:p>
                  </a:txBody>
                  <a:tcPr marL="43200" marR="43200" marT="0" marB="0" anchor="ctr" horzOverflow="overflow"/>
                </a:tc>
              </a:tr>
            </a:tbl>
          </a:graphicData>
        </a:graphic>
      </p:graphicFrame>
      <p:pic>
        <p:nvPicPr>
          <p:cNvPr id="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071538" y="142852"/>
            <a:ext cx="7858180" cy="100013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Создание условий безопасной жизни населения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35843" name="Text Box 18"/>
          <p:cNvSpPr txBox="1">
            <a:spLocks noChangeArrowheads="1"/>
          </p:cNvSpPr>
          <p:nvPr/>
        </p:nvSpPr>
        <p:spPr bwMode="auto">
          <a:xfrm>
            <a:off x="7524750" y="1285875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/>
              <a:t>млн.рублей</a:t>
            </a:r>
          </a:p>
        </p:txBody>
      </p:sp>
      <p:sp>
        <p:nvSpPr>
          <p:cNvPr id="35844" name="Text Box 7"/>
          <p:cNvSpPr txBox="1">
            <a:spLocks noChangeArrowheads="1"/>
          </p:cNvSpPr>
          <p:nvPr/>
        </p:nvSpPr>
        <p:spPr bwMode="auto">
          <a:xfrm>
            <a:off x="7543800" y="1468438"/>
            <a:ext cx="13319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/>
              <a:t>в процентах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457200" y="1316038"/>
            <a:ext cx="8435975" cy="533400"/>
          </a:xfrm>
          <a:prstGeom prst="round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93663" lvl="1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Поддержание объема муниципального долга на оптимальном уровне, в рамках которого предполагается: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457200" y="4587875"/>
            <a:ext cx="8458200" cy="914400"/>
          </a:xfrm>
          <a:prstGeom prst="round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Минимизация стоимости обслуживания муниципального долга, в рамках которой предполагается привлечение временно свободных средств муниципальных бюджетных и автономных учреждений города-курорта Железноводска Ставропольского края в целях не привлечения дополнительных бюджетных кредитов;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57200" y="5588000"/>
            <a:ext cx="8458200" cy="1214438"/>
          </a:xfrm>
          <a:prstGeom prst="round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6350" lvl="1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Равномерное распределение платежей, связанных с погашением и обслуживанием муниципального долга, в рамках которого предполагается:</a:t>
            </a:r>
          </a:p>
          <a:p>
            <a:pPr marL="6350" lvl="1" indent="255588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проведение анализа сроков погашения действующих долговых обязательств города-курорта Железноводска Ставропольского края и выявление пиков платежей;</a:t>
            </a:r>
          </a:p>
          <a:p>
            <a:pPr marL="6350" lvl="1" indent="255588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планирование графиков погашения долговых обязательств города-курорта Железноводска Ставропольского края.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685800" y="1925638"/>
            <a:ext cx="8207375" cy="68580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ru-RU" sz="1350" i="1" dirty="0">
                <a:solidFill>
                  <a:schemeClr val="tx1"/>
                </a:solidFill>
              </a:rPr>
              <a:t>проведение мероприятий, направленных на рост доходной и оптимизацию расходной частей бюджета города и приводящих к сокращению дефицита бюджета города и темпов прироста муниципального </a:t>
            </a:r>
            <a:r>
              <a:rPr lang="ru-RU" sz="1350" i="1" dirty="0" smtClean="0">
                <a:solidFill>
                  <a:schemeClr val="tx1"/>
                </a:solidFill>
              </a:rPr>
              <a:t>долга;</a:t>
            </a:r>
            <a:endParaRPr lang="ru-RU" sz="1350" dirty="0"/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685800" y="2687638"/>
            <a:ext cx="8207375" cy="68580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ru-RU" sz="1350" i="1" dirty="0">
                <a:solidFill>
                  <a:schemeClr val="tx1"/>
                </a:solidFill>
              </a:rPr>
              <a:t>осуществление мониторинга использования бюджетных ассигнований получателями средств бюджета города в целях своевременного принятия решения о сокращении невостребованных бюджетных </a:t>
            </a:r>
            <a:r>
              <a:rPr lang="ru-RU" sz="1350" i="1" dirty="0" smtClean="0">
                <a:solidFill>
                  <a:schemeClr val="tx1"/>
                </a:solidFill>
              </a:rPr>
              <a:t>ассигнований и объема заимствований </a:t>
            </a:r>
            <a:r>
              <a:rPr lang="ru-RU" sz="1350" i="1" dirty="0">
                <a:solidFill>
                  <a:schemeClr val="tx1"/>
                </a:solidFill>
              </a:rPr>
              <a:t>при исполнении бюджета </a:t>
            </a:r>
            <a:r>
              <a:rPr lang="ru-RU" sz="1350" i="1" dirty="0" smtClean="0">
                <a:solidFill>
                  <a:schemeClr val="tx1"/>
                </a:solidFill>
              </a:rPr>
              <a:t>города;</a:t>
            </a:r>
            <a:endParaRPr lang="ru-RU" sz="1350" dirty="0">
              <a:solidFill>
                <a:schemeClr val="tx1"/>
              </a:solidFill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684213" y="3444875"/>
            <a:ext cx="8208962" cy="106680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ru-RU" sz="1350" i="1" dirty="0">
                <a:solidFill>
                  <a:schemeClr val="tx1"/>
                </a:solidFill>
              </a:rPr>
              <a:t>направление остатков средств на едином счете бюджета города (без учета безвозмездных поступлений, имеющих целевое значение и подлежащих возврату в доход краевого бюджета), образовавшихся на начало текущего финансового года, и дополнительных доходов, поступивших сверх утвержденных годовых назначений, при исполнении бюджета города на сокращение дефицита бюджета города в целях снижения объема муниципального </a:t>
            </a:r>
            <a:r>
              <a:rPr lang="ru-RU" sz="1350" i="1" dirty="0" smtClean="0">
                <a:solidFill>
                  <a:schemeClr val="tx1"/>
                </a:solidFill>
              </a:rPr>
              <a:t>долга;</a:t>
            </a:r>
            <a:endParaRPr lang="ru-RU" sz="1350" dirty="0"/>
          </a:p>
        </p:txBody>
      </p:sp>
      <p:pic>
        <p:nvPicPr>
          <p:cNvPr id="35851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AutoShape 2"/>
          <p:cNvSpPr>
            <a:spLocks noChangeArrowheads="1"/>
          </p:cNvSpPr>
          <p:nvPr/>
        </p:nvSpPr>
        <p:spPr bwMode="auto">
          <a:xfrm>
            <a:off x="1142976" y="142852"/>
            <a:ext cx="7786742" cy="1143008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направления долговой политики города-курорта Железноводска Ставропольского края на 2019 год и плановый период 2020 и 2021 годов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90115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58" y="1285861"/>
            <a:ext cx="849630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011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14282" y="1702214"/>
          <a:ext cx="8786812" cy="4941496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558800"/>
                <a:gridCol w="98425"/>
                <a:gridCol w="4456112"/>
                <a:gridCol w="641350"/>
                <a:gridCol w="558800"/>
                <a:gridCol w="558800"/>
                <a:gridCol w="477838"/>
                <a:gridCol w="479425"/>
                <a:gridCol w="477837"/>
                <a:gridCol w="479425"/>
              </a:tblGrid>
              <a:tr h="21431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а       измерен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48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68263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</a:tr>
              <a:tr h="48101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1 Программы: формирование высококвалифицированного кадрового состава муниципальной службы, обеспечивающего эффективность муниципального управления в администрации города-курорта Железноводска Ставропольского края, её отраслевых (функциональных) органах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</a:tr>
              <a:tr h="2413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ндикаторы достижения цели Программы: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</a:tr>
              <a:tr h="96202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разработанных и реализованных нормативных правовых актов города-курорта Железноводска Ставропольского края, регулирующих вопросы муниципальной службы в соответствии с законодательством Российской Федерации, законодательством Ставропольского края;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</a:tr>
              <a:tr h="961632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.2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ткрытость, престижность и привлекательность муниципальной служб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-во размещенной информации на сайте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8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8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8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8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8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</a:tr>
              <a:tr h="241300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1: «Развитие муниципальной службы в городе-курорте Железноводске Ставропольского края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</a:tr>
              <a:tr h="48101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1 Программы: формирование системы планомерного дополнительного профессионального образования муниципальных служащих администрации города-курорта Железноводска Ставропольского края, её отраслевых (функциональных) орган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</a:tr>
              <a:tr h="2413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казатель решения задачи подпрограммы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</a:tr>
              <a:tr h="72231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рганизация и прохождение муниципальными служащими администрации города-курорта Железноводска Ставропольского края, её отраслевых (функциональных) органов дополнительного профессионального образова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</a:p>
                  </a:txBody>
                  <a:tcPr marL="43402" marR="43402" marT="0" marB="0" horzOverflow="overflow"/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071538" y="142852"/>
            <a:ext cx="7858180" cy="1071570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Открытость и эффективность работы администрации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91141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285720" y="1785926"/>
          <a:ext cx="8572500" cy="4892677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544513"/>
                <a:gridCol w="96837"/>
                <a:gridCol w="4346575"/>
                <a:gridCol w="625475"/>
                <a:gridCol w="546100"/>
                <a:gridCol w="544513"/>
                <a:gridCol w="466725"/>
                <a:gridCol w="468312"/>
                <a:gridCol w="466725"/>
                <a:gridCol w="466725"/>
              </a:tblGrid>
              <a:tr h="21431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-ца       измере-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306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68263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</a:tr>
              <a:tr h="558800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2 Программы: реализация антикоррупционной политики, внедрение в практику деятельности администрации города-курорта Железноводска Ставропольского края, её отраслевых (функциональных) органов профилактических мер, направленных на недопущение создания условий, порождающих коррупци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  <a:tr h="185738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дикаторы достижения цели Программы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  <a:tr h="93186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о выявленных или предупрежденных коррупционных правонарушений со стороны муниципальных служащих администрации города-курорта Железноводска Ставропольского края, её отраслевых (функциональных) органов и структурных подразделени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  <a:tr h="1862138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нение населения города-курорта Железноводска Ставропольского края, считающего администрацию города-курорта Железноводска Ставропольского края, её отраслевые (функциональные) органы и структурные подразделения, подверженными коррупционным проявлениям (по результатам социологического опроса). В случае не проведения данного мероприятия – определяется по результатам опроса на официальном сайте Думы города-курорта Железноводска Ставропольского края и администрации города-курорта Железноводска Ставропольского края в сети Интернет (далее – официальный сайт в сети Интернет)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а/не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е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е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е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е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е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е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  <a:tr h="744538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граждан и организаций, официально обратившихся с жалобами на проявления коррупции в администрацию города-курорта Железноводска Ставропольского края, её отраслевые (функциональные) орган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142976" y="214290"/>
            <a:ext cx="7858180" cy="100013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Открытость и эффективность работы администрации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357158" y="1357298"/>
            <a:ext cx="849630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58" y="1214423"/>
            <a:ext cx="849630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216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85720" y="1500174"/>
          <a:ext cx="8572500" cy="5080936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544513"/>
                <a:gridCol w="96837"/>
                <a:gridCol w="4346575"/>
                <a:gridCol w="625475"/>
                <a:gridCol w="546100"/>
                <a:gridCol w="544513"/>
                <a:gridCol w="466725"/>
                <a:gridCol w="468312"/>
                <a:gridCol w="466725"/>
                <a:gridCol w="466725"/>
              </a:tblGrid>
              <a:tr h="21017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-ца       измере-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дикатора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3051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68263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</a:tr>
              <a:tr h="420339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дпрограмма 2:«Противодействие коррупции в сфере деятельности администрации города-курорта Железноводска Ставропольского края»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</a:tr>
              <a:tr h="448362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адача 1 подпрограммы 2 Программы: совершенствование механизмов противодействия коррупции в администрации города-курорта Железноводска Ставропольского края, её отраслевых (функциональных) органах и структурных подразделениях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</a:tr>
              <a:tr h="21017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казатель решения задачи подпрограммы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</a:tr>
              <a:tr h="105084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работка и реализация нормативных правовых актов города-курорта Железноводска Ставропольского края, регулирующих вопросы противодействия коррупции на муниципальной службе в соответствии с законодательством Российской Федерации, законодательством Ставропольского края;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  <a:tr h="42033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работка, изготовление и распространение печатной продукции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антикоррупционного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содержания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0</a:t>
                      </a: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0</a:t>
                      </a: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0</a:t>
                      </a: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0</a:t>
                      </a: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0</a:t>
                      </a:r>
                    </a:p>
                  </a:txBody>
                  <a:tcPr marL="43402" marR="43402" marT="0" marB="0" anchor="ctr" horzOverflow="overflow"/>
                </a:tc>
              </a:tr>
              <a:tr h="63051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работка и реализация планов мероприятий по противодействию коррупции в отраслевых (функциональных) органах администрации города-курорта Железноводска Ставропольского края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  <a:tr h="105084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рганизация взаимодействия администрации города-курорта Железноводска Ставропольского края с организациями, общественными объединениями и населением города-курорта Железноводска Ставропольского края по вопросам противодействия коррупции (проведение «круглых столов»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-во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мероприят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 marL="43402" marR="43402" marT="0" marB="0" anchor="ctr" horzOverflow="overflow"/>
                </a:tc>
              </a:tr>
            </a:tbl>
          </a:graphicData>
        </a:graphic>
      </p:graphicFrame>
      <p:pic>
        <p:nvPicPr>
          <p:cNvPr id="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142976" y="142852"/>
            <a:ext cx="7858180" cy="100013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Открытость и эффективность работы администрации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000109"/>
            <a:ext cx="849630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3189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85750" y="1243220"/>
          <a:ext cx="8572500" cy="5527675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357188"/>
                <a:gridCol w="4630737"/>
                <a:gridCol w="625475"/>
                <a:gridCol w="101600"/>
                <a:gridCol w="444500"/>
                <a:gridCol w="544513"/>
                <a:gridCol w="466725"/>
                <a:gridCol w="468312"/>
                <a:gridCol w="466725"/>
                <a:gridCol w="466725"/>
              </a:tblGrid>
              <a:tr h="9683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а       измере-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89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68263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</a:tr>
              <a:tr h="96838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3 Программы: оптимизация и повышение качества предоставления государственных и муниципальных услуг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  <a:tr h="968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дикаторы достижения цели Программы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  <a:tr h="385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заявителей, удовлетворенных качеством государственных и муниципальных услуг, предоставляемых органами местного самоуправления города-курорта Железноводска Ставропольского края, от общего числа заявителе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  <a:tr h="2889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заявителей, удовлетворенных качеством государственных и муниципальных услуг, предоставляемых на базе многофункционального центра, от общего числа заявителе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  <a:tr h="2889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заявителей, использующих механизм получения государственных и муниципальных услуг в городе-курорте Железноводске Ставропольского края в электронной форме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0</a:t>
                      </a: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0</a:t>
                      </a:r>
                    </a:p>
                  </a:txBody>
                  <a:tcPr marL="43402" marR="43402" marT="0" marB="0" anchor="ctr" horzOverflow="overflow"/>
                </a:tc>
              </a:tr>
              <a:tr h="385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граждан города-курорта Железноводска Ставропольского края, имеющих доступ к получению государственных и муниципальных услуг по принципу «одного окна» по месту пребывания, в том числе в многофункциональных центрах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  <a:tr h="193675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3«Снижение административных барьеров, оптимизация и повышение качества предоставляемых государственных и муниципальных услуг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  <a:tr h="193675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3 Программы: проведение комплексной оптимизации и актуализации государственных и муниципальных услуг, предоставляемых на территор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  <a:tr h="968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казатель решения задачи подпрограммы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  <a:tr h="5794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мещено сведений о муниципальных услугах, предоставляемых органами местного самоуправления города-курорта Железноводска Ставропольского края, в государственной информационной системе Ставропольского края «Региональный реестр государственных услуг (функций)» (далее соответственно - муниципальные услуги, региональный реестр)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  <a:tr h="4826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.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проведенных совещаний, семинаров, «круглых столов», курсов повышения квалификации и конференций по вопросам оптимизации и повышения качества предоставления государственных и муниципальных услуг в городе-курорте Железноводске Ставропольского края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меро-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  <a:tr h="1936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.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существление мониторинга предоставления муниципальных услуг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а/не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142976" y="71414"/>
            <a:ext cx="7858180" cy="928694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Открытость и эффективность работы администрации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142985"/>
            <a:ext cx="849630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4213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85781" y="1419626"/>
          <a:ext cx="8643937" cy="5294315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549275"/>
                <a:gridCol w="96837"/>
                <a:gridCol w="4383088"/>
                <a:gridCol w="631825"/>
                <a:gridCol w="549275"/>
                <a:gridCol w="549275"/>
                <a:gridCol w="471487"/>
                <a:gridCol w="471488"/>
                <a:gridCol w="469900"/>
                <a:gridCol w="471487"/>
              </a:tblGrid>
              <a:tr h="18256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-ца       измере-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461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68263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</a:tr>
              <a:tr h="365125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4 Программы: реализация права жителей города-курорта Железноводска Ставропольского края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 доступ к средствам массовой информа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</a:tr>
              <a:tr h="18256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ндикаторы достижения цели Программы: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b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</a:tr>
              <a:tr h="18256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выпущенных в эфир теле- радиопрограмм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b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2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2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2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2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2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  <a:tr h="36512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.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выпусков общественно-политического еженедельника «Железноводские ведомости»;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b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  <a:tr h="91122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.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довлетворенность населения деятельностью администрации города-курорта Железноводска Ставропольского края (по результатам социологического опроса).  В случае не проведения данного мероприятия – определяется по результатам опроса на официальном сайте в сети Интерне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b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  <a:tr h="18256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4:«Оказание услуг в сфере производства и выпуска средств массовой информации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</a:tr>
              <a:tr h="365125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4 Программы: реализация принципа информационной открытости органов местного самоуправления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</a:tr>
              <a:tr h="18256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казатель решения задачи подпрограммы: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</a:tr>
              <a:tr h="18256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.1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сюжетов в информационных выпусках на телевидении;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2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2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2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2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2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  <a:tr h="91122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.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публикаций в общественно-политическом еженедельнике «Железноводские ведомости» о работе главы города-курорта Железноводска Ставропольского края, администрации города-курорта Железноводска Ставропольского края, Думы города-курорта Железноводска Ставропольского края;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  <a:tr h="58820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.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формирование положительного общественного мнения (по результатам социологического опроса).  В случае не проведения данного мероприятия – определяется по результатам опроса на официальном сайте в сети Интерне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/>
                </a:tc>
              </a:tr>
            </a:tbl>
          </a:graphicData>
        </a:graphic>
      </p:graphicFrame>
      <p:pic>
        <p:nvPicPr>
          <p:cNvPr id="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142976" y="71414"/>
            <a:ext cx="7858180" cy="100013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Открытость и эффективность работы администрации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95235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FF7575"/>
              </a:solidFill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071547"/>
            <a:ext cx="849630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523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14283" y="1309695"/>
          <a:ext cx="8715405" cy="5405453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435770"/>
                <a:gridCol w="2640445"/>
                <a:gridCol w="845717"/>
                <a:gridCol w="892522"/>
                <a:gridCol w="795685"/>
                <a:gridCol w="855401"/>
                <a:gridCol w="857014"/>
                <a:gridCol w="697232"/>
                <a:gridCol w="695619"/>
              </a:tblGrid>
              <a:tr h="21431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а       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431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</a:tr>
              <a:tr h="25876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1 Программы: создание условий для поддержки и развития молодежных инициатив, гражданского, патриотического и духовно-нравственного воспитания молодеж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дикатор достижения цели 1 Программы: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</a:tr>
              <a:tr h="6461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.1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проведенных культурных мероприятий, направленных на создание условий для совершенствования досуга молодежи, профилактики потенциальных явлений в молодежной сред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мероприя-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5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0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3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5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</a:t>
                      </a:r>
                    </a:p>
                  </a:txBody>
                  <a:tcPr marL="41485" marR="41485" marT="0" marB="0" anchor="ctr" horzOverflow="overflow"/>
                </a:tc>
              </a:tr>
              <a:tr h="21431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1: «Организация и осуществление мероприятий по работе с молодежью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5876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1 Программы: организация, развитие и внедрение различных форм досуга молодежи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казатель решения задачи подпрограммы: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</a:tr>
              <a:tr h="8540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1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молодежи, задействованной в проведении мероприятий по реализации молодежной политики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50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80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00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50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80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00</a:t>
                      </a:r>
                    </a:p>
                  </a:txBody>
                  <a:tcPr marL="41485" marR="41485" marT="0" marB="0" anchor="ctr" horzOverflow="overflow"/>
                </a:tc>
              </a:tr>
              <a:tr h="21431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2 Программы: профилактика безнадзорности, беспризорности и предупреждение правонарушений, совершаемых несовершеннолетним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58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Индикаторы достижения цели 2 Программы: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</a:tr>
              <a:tr h="34291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1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несовершеннолетних, стоящих на ведомственных учетах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9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</a:t>
                      </a:r>
                    </a:p>
                  </a:txBody>
                  <a:tcPr marL="41485" marR="41485" marT="0" marB="0" anchor="ctr" horzOverflow="overflow"/>
                </a:tc>
              </a:tr>
              <a:tr h="6413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2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несовершеннолетних, воспитывающихся в семьях, находящихся в социально-опасном положении для предоставления адресной материальной помощ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b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7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5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4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</a:t>
                      </a:r>
                    </a:p>
                  </a:txBody>
                  <a:tcPr marL="41485" marR="41485" marT="0" marB="0" anchor="ctr" horzOverflow="overflow"/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071538" y="71414"/>
            <a:ext cx="7858180" cy="100013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Молодежь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58" y="1142985"/>
            <a:ext cx="849630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6260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85720" y="1460871"/>
          <a:ext cx="8643938" cy="5181632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357188"/>
                <a:gridCol w="3571875"/>
                <a:gridCol w="846137"/>
                <a:gridCol w="654050"/>
                <a:gridCol w="714375"/>
                <a:gridCol w="642938"/>
                <a:gridCol w="642937"/>
                <a:gridCol w="523875"/>
                <a:gridCol w="119063"/>
                <a:gridCol w="571500"/>
              </a:tblGrid>
              <a:tr h="2000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а       измерен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00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296863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2: «Комплексные меры по профилактике безнадзорности и правонарушений несовершеннолетних в городе-курорте Железноводске Ставропольского края»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6863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2 Программы: создание комплексной системы профилактической, коррекционной и реабилитационной работы с детьм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667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казатель решения задачи подпрограммы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85" marR="41485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85" marR="4148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85" marR="41485" marT="0" marB="0" anchor="ctr" horzOverflow="overflow"/>
                </a:tc>
              </a:tr>
              <a:tr h="4445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1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нижение уровня подростковой преступности на территор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6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7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8</a:t>
                      </a:r>
                    </a:p>
                  </a:txBody>
                  <a:tcPr marL="41485" marR="41485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9</a:t>
                      </a:r>
                    </a:p>
                  </a:txBody>
                  <a:tcPr marL="41485" marR="4148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0</a:t>
                      </a:r>
                    </a:p>
                  </a:txBody>
                  <a:tcPr marL="41485" marR="41485" marT="0" marB="0" anchor="ctr" horzOverflow="overflow"/>
                </a:tc>
              </a:tr>
              <a:tr h="336550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Цель 3 Программы: формирование у жителей города-курорта Железноводска Ставропольского края установок и норм на здоровый образ жизни, негативного отношения к вредным привычкам (курение, алкоголь, наркомания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667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дикатор достижения цели 3 Программы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85" marR="41485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85" marR="4148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85" marR="41485" marT="0" marB="0" anchor="ctr" horzOverflow="overflow"/>
                </a:tc>
              </a:tr>
              <a:tr h="4445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1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профилактических меро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мероприя-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4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</a:p>
                  </a:txBody>
                  <a:tcPr marL="41485" marR="41485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</a:t>
                      </a:r>
                    </a:p>
                  </a:txBody>
                  <a:tcPr marL="41485" marR="4148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</a:t>
                      </a:r>
                    </a:p>
                  </a:txBody>
                  <a:tcPr marL="41485" marR="41485" marT="0" marB="0" anchor="ctr" horzOverflow="overflow"/>
                </a:tc>
              </a:tr>
              <a:tr h="296863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3: «Профилактика наркомании и противодействие злоупотреблению наркотическими средствами и их незаконному обороту в городе-курорте Железноводске Ставропольского края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44500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3 Программы: организация целенаправленной, системной профилактической работы с подростками, молодежью и их родителями по обеспечению их необходимым объемом информации в рамках проблемы злоупотребления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сихоактивных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вещест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25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: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85" marR="41485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85" marR="4148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1485" marR="41485" marT="0" marB="0" anchor="ctr" horzOverflow="overflow"/>
                </a:tc>
              </a:tr>
              <a:tr h="36928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.1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подростков и молодежи, вовлеченных в профилактические мероприят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00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00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00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00</a:t>
                      </a:r>
                    </a:p>
                  </a:txBody>
                  <a:tcPr marL="41485" marR="41485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00</a:t>
                      </a:r>
                    </a:p>
                  </a:txBody>
                  <a:tcPr marL="41485" marR="4148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00</a:t>
                      </a:r>
                    </a:p>
                  </a:txBody>
                  <a:tcPr marL="41485" marR="41485" marT="0" marB="0" anchor="ctr" horzOverflow="overflow"/>
                </a:tc>
              </a:tr>
              <a:tr h="35719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.2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подростков и молодежи, занимающихся физической культурой и спортом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b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70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95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00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10</a:t>
                      </a:r>
                    </a:p>
                  </a:txBody>
                  <a:tcPr marL="41485" marR="41485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20</a:t>
                      </a:r>
                    </a:p>
                  </a:txBody>
                  <a:tcPr marL="41485" marR="4148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30</a:t>
                      </a:r>
                    </a:p>
                  </a:txBody>
                  <a:tcPr marL="41485" marR="41485" marT="0" marB="0" anchor="ctr" horzOverflow="overflow"/>
                </a:tc>
              </a:tr>
              <a:tr h="57150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.3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Увеличение количества несовершеннолетних, добровольно прошедших тестирование на предмет немедицинского употребления наркотических вещест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9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1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</a:t>
                      </a:r>
                    </a:p>
                  </a:txBody>
                  <a:tcPr marL="41485" marR="41485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5</a:t>
                      </a:r>
                    </a:p>
                  </a:txBody>
                  <a:tcPr marL="41485" marR="41485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8</a:t>
                      </a:r>
                    </a:p>
                  </a:txBody>
                  <a:tcPr marL="41485" marR="41485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</a:t>
                      </a:r>
                    </a:p>
                  </a:txBody>
                  <a:tcPr marL="41485" marR="41485" marT="0" marB="0" anchor="ctr" horzOverflow="overflow"/>
                </a:tc>
              </a:tr>
            </a:tbl>
          </a:graphicData>
        </a:graphic>
      </p:graphicFrame>
      <p:pic>
        <p:nvPicPr>
          <p:cNvPr id="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071538" y="71414"/>
            <a:ext cx="7858180" cy="1000132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Молодежь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97283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FF00FF"/>
              </a:solidFill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428736"/>
            <a:ext cx="849630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728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571500" y="1928802"/>
          <a:ext cx="8358188" cy="4427538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781050"/>
                <a:gridCol w="2230438"/>
                <a:gridCol w="574675"/>
                <a:gridCol w="814387"/>
                <a:gridCol w="814388"/>
                <a:gridCol w="741362"/>
                <a:gridCol w="666750"/>
                <a:gridCol w="868363"/>
                <a:gridCol w="866775"/>
              </a:tblGrid>
              <a:tr h="2635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Еди-ница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изме-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905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017 г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018 г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211138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I. Цель 1 «Повышение уровня благоустройства территорий города-курорта Железноводска Ставропольского края.»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270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дикаторы достижения цели Программ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</a:tr>
              <a:tr h="13176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площади благоустроенных общественных территорий по отношению к общей площади  общественных территорий, нуждающихся в благоустройств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,9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4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</a:tr>
              <a:tr h="13176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оля площади благоустроенных дворовых территорий по отношению к общей площади  дворовых территорий, нуждающихся в благоустройстве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6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7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8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142976" y="214290"/>
            <a:ext cx="7858180" cy="857256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Формирование современной городской среды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142984"/>
            <a:ext cx="849630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8309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85780" y="1500174"/>
          <a:ext cx="8572500" cy="5200972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800100"/>
                <a:gridCol w="2287587"/>
                <a:gridCol w="588963"/>
                <a:gridCol w="836612"/>
                <a:gridCol w="836613"/>
                <a:gridCol w="758825"/>
                <a:gridCol w="684212"/>
                <a:gridCol w="136525"/>
                <a:gridCol w="754063"/>
                <a:gridCol w="889000"/>
              </a:tblGrid>
              <a:tr h="18256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-ца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изме-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461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018 г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146050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. Цель 1 «Повышение уровня благоустройства территорий города-курорта Железноводска Ставропольского края.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5263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программа 1: «Современная городская среда в городе-курорте Железноводске Ставропольского края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63538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дача 1 подпрограммы 1 Программы: «Организация мероприятий по благоустройству нуждающихся в благоустройстве общественных территорий и дворовых территорий многоквартирных домов города-курорта Железноводска Ставропольского края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635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казатели решения задачи подпрограмм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</a:tr>
              <a:tr h="3635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благоустроенных общественных территор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</a:tr>
              <a:tr h="3635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2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лощадь благоустроенных  общественных территор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г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,67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9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,3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,78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,8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5,59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</a:tr>
              <a:tr h="909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благоустроенных общественных территорий по отношению к общему количеству  общественных территорий, нуждающихся в благоустройств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,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84,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</a:tr>
              <a:tr h="3635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4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благоустроенных дворовых территор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7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</a:tr>
              <a:tr h="3635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.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лощадь благоустроенных дворовых территор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в. м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9 839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4 379,32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8 676,6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4 406,57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8 703,9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7 298,8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</a:tr>
              <a:tr h="909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благоустроенных дворовых территорий по отношению к общему количеству  дворовых территорий, нуждающихся в благоустройств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4,3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,6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4,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6,1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/>
                </a:tc>
              </a:tr>
            </a:tbl>
          </a:graphicData>
        </a:graphic>
      </p:graphicFrame>
      <p:pic>
        <p:nvPicPr>
          <p:cNvPr id="8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142852"/>
            <a:ext cx="7858180" cy="857256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Формирование современной городской среды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" descr="http://roza-ekb.ru/uploadedFiles/catalogimages/big/df57def971eafa96bc3a5a84c3cd680c_zheleznovodsk.jpg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-32" y="-28558"/>
            <a:ext cx="9144032" cy="6886558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88" y="1071547"/>
            <a:ext cx="849630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Перечень целевых индикаторов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9333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85720" y="1467629"/>
          <a:ext cx="8572560" cy="5247519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800578"/>
                <a:gridCol w="2287518"/>
                <a:gridCol w="589306"/>
                <a:gridCol w="835968"/>
                <a:gridCol w="835968"/>
                <a:gridCol w="759825"/>
                <a:gridCol w="684217"/>
                <a:gridCol w="889590"/>
                <a:gridCol w="889590"/>
              </a:tblGrid>
              <a:tr h="167259">
                <a:tc rowSpan="2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№ </a:t>
                      </a:r>
                      <a:r>
                        <a:rPr lang="ru-RU" sz="1200" dirty="0" err="1"/>
                        <a:t>п</a:t>
                      </a:r>
                      <a:r>
                        <a:rPr lang="ru-RU" sz="1200" dirty="0"/>
                        <a:t>/</a:t>
                      </a:r>
                      <a:r>
                        <a:rPr lang="ru-RU" sz="1200" dirty="0" err="1"/>
                        <a:t>п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Наименование индикатора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Едини-ца </a:t>
                      </a:r>
                      <a:r>
                        <a:rPr lang="ru-RU" sz="1200" dirty="0" err="1" smtClean="0"/>
                        <a:t>изме-рения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 gridSpan="6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Значение индикатора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0177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2017 г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2018 г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2019 г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2020 г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2021 г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2022 г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</a:tr>
              <a:tr h="174744">
                <a:tc gridSpan="9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I. Цель 1 «Повышение уровня благоустройства территорий города-курорта Железноводска Ставропольского края.»</a:t>
                      </a:r>
                      <a:endParaRPr lang="ru-RU" sz="12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24232">
                <a:tc gridSpan="9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Задача 2 подпрограммы 1 Программы: «Повышение уровня вовлеченности заинтересованных граждан, организаций в реализацию мероприятий по благоустройству нуждающихся в благоустройстве общественных территорий города-курорта Железноводска, а также дворовых территорий многоквартирных домов»</a:t>
                      </a:r>
                      <a:endParaRPr lang="ru-RU" sz="1200" dirty="0"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34519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3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Показатели решения задачи подпрограммы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highlight>
                          <a:srgbClr val="FFFF00"/>
                        </a:highlight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200">
                        <a:highlight>
                          <a:srgbClr val="FFFF00"/>
                        </a:highlight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highlight>
                          <a:srgbClr val="FFFF00"/>
                        </a:highlight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highlight>
                          <a:srgbClr val="FFFF00"/>
                        </a:highlight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highlight>
                          <a:srgbClr val="FFFF00"/>
                        </a:highlight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highlight>
                          <a:srgbClr val="FFFF00"/>
                        </a:highlight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solidFill>
                          <a:srgbClr val="000000"/>
                        </a:solidFill>
                        <a:highlight>
                          <a:srgbClr val="FFFF00"/>
                        </a:highlight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</a:tr>
              <a:tr h="1170814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3.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Доля населения, проживающего в жилом фонде с благоустроенными дворовыми территориями по отношению к общей численности населения муниципального образования города-курорта Железноводска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%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39,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46,22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54,16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63,29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73,3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85,07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</a:tr>
              <a:tr h="836296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3.2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Площадь благоустроенных территорий общего пользования, приходящаяся на 1 жителя муниципального образования города-курорта Железноводска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кв. м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14,36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4,47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4,6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4,7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4,83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14,95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</a:tr>
              <a:tr h="836296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3.3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Объем трудового участия заинтересованных лиц в выполнении работ по благоустройству дворовых территорий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-во </a:t>
                      </a:r>
                      <a:r>
                        <a:rPr lang="ru-RU" sz="1200" dirty="0" err="1" smtClean="0"/>
                        <a:t>суб-ботни-ков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2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24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27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3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34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4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</a:tr>
              <a:tr h="334519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3.4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Количество отремонтированных внутриквартальных сетей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м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-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-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-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-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-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-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</a:tr>
              <a:tr h="334519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3.5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Количество объектов прошедших инвентаризацию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шт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7986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5109" marR="45109" marT="0" marB="0" anchor="ctr"/>
                </a:tc>
              </a:tr>
            </a:tbl>
          </a:graphicData>
        </a:graphic>
      </p:graphicFrame>
      <p:pic>
        <p:nvPicPr>
          <p:cNvPr id="7" name="Picture 2" descr="C:\Users\AdmAccount\Desktop\круж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000125" cy="106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142852"/>
            <a:ext cx="7858180" cy="857256"/>
          </a:xfrm>
          <a:prstGeom prst="roundRect">
            <a:avLst>
              <a:gd name="adj" fmla="val 16667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Формирование современной городской среды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lCvXbiEC7e3IcSMvXj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RfMevFAk2Iu7NMBA7h_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vbI7zzaU2kzYqlxBxG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DHmp4.Q0S5C_AvqH0p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VDIkm1Yk.UtmfRFq8IH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IVQmUag0SpL4VOseeU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9x.cBw0WiuTu24k3qQ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8z15cxFE.TM.rznaFtL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7AxrfGKkabxzI6BEb99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lCvXbiEC7e3IcSMvXj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9x.cBw0WiuTu24k3qQ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YqihVo00GmxSSRELyug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jqlzlyJkqZJdfg_XUXW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jqlzlyJkqZJdfg_XUXW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jqlzlyJkqZJdfg_XUXW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jqlzlyJkqZJdfg_XUXW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ddr43wykCMw7G6ia9y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RXpvIIsEaq.Tkq7jWx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Метро">
      <a:fillStyleLst>
        <a:solidFill>
          <a:schemeClr val="phClr"/>
        </a:solidFill>
        <a:gradFill rotWithShape="1">
          <a:gsLst>
            <a:gs pos="0">
              <a:schemeClr val="phClr">
                <a:tint val="25000"/>
                <a:satMod val="125000"/>
              </a:schemeClr>
            </a:gs>
            <a:gs pos="40000">
              <a:schemeClr val="phClr">
                <a:tint val="55000"/>
                <a:satMod val="130000"/>
              </a:schemeClr>
            </a:gs>
            <a:gs pos="50000">
              <a:schemeClr val="phClr">
                <a:tint val="59000"/>
                <a:satMod val="130000"/>
              </a:schemeClr>
            </a:gs>
            <a:gs pos="65000">
              <a:schemeClr val="phClr">
                <a:tint val="55000"/>
                <a:satMod val="130000"/>
              </a:schemeClr>
            </a:gs>
            <a:gs pos="100000">
              <a:schemeClr val="phClr">
                <a:tint val="20000"/>
                <a:satMod val="12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48000"/>
                <a:satMod val="138000"/>
              </a:schemeClr>
            </a:gs>
            <a:gs pos="25000">
              <a:schemeClr val="phClr">
                <a:tint val="85000"/>
              </a:schemeClr>
            </a:gs>
            <a:gs pos="40000">
              <a:schemeClr val="phClr">
                <a:tint val="92000"/>
              </a:schemeClr>
            </a:gs>
            <a:gs pos="50000">
              <a:schemeClr val="phClr">
                <a:tint val="93000"/>
              </a:schemeClr>
            </a:gs>
            <a:gs pos="60000">
              <a:schemeClr val="phClr">
                <a:tint val="92000"/>
              </a:schemeClr>
            </a:gs>
            <a:gs pos="75000">
              <a:schemeClr val="phClr">
                <a:tint val="83000"/>
                <a:satMod val="108000"/>
              </a:schemeClr>
            </a:gs>
            <a:gs pos="100000">
              <a:schemeClr val="phClr">
                <a:tint val="48000"/>
                <a:satMod val="150000"/>
              </a:schemeClr>
            </a:gs>
          </a:gsLst>
          <a:lin ang="5400000" scaled="0"/>
        </a:gradFill>
      </a:fillStyleLst>
      <a:lnStyleLst>
        <a:ln w="12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alpha val="45000"/>
                <a:satMod val="120000"/>
              </a:schemeClr>
            </a:glow>
          </a:effectLst>
        </a:effectStyle>
        <a:effectStyle>
          <a:effectLst>
            <a:glow rad="63500">
              <a:schemeClr val="phClr">
                <a:alpha val="45000"/>
                <a:satMod val="120000"/>
              </a:schemeClr>
            </a:glo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>
            <a:bevelT w="0" h="0"/>
            <a:contourClr>
              <a:schemeClr val="phClr">
                <a:tint val="70000"/>
              </a:schemeClr>
            </a:contourClr>
          </a:sp3d>
        </a:effectStyle>
        <a:effectStyle>
          <a:effectLst>
            <a:glow rad="101500">
              <a:schemeClr val="phClr">
                <a:alpha val="42000"/>
                <a:satMod val="120000"/>
              </a:schemeClr>
            </a:glow>
          </a:effectLst>
          <a:scene3d>
            <a:camera prst="orthographicFront" fov="0">
              <a:rot lat="0" lon="0" rev="0"/>
            </a:camera>
            <a:lightRig rig="glow" dir="t">
              <a:rot lat="0" lon="0" rev="4800000"/>
            </a:lightRig>
          </a:scene3d>
          <a:sp3d prstMaterial="powder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17343</TotalTime>
  <Words>14395</Words>
  <Application>Microsoft Office PowerPoint</Application>
  <PresentationFormat>Экран (4:3)</PresentationFormat>
  <Paragraphs>4086</Paragraphs>
  <Slides>105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05</vt:i4>
      </vt:variant>
    </vt:vector>
  </HeadingPairs>
  <TitlesOfParts>
    <vt:vector size="108" baseType="lpstr">
      <vt:lpstr>Тема Office</vt:lpstr>
      <vt:lpstr>Worksheet</vt:lpstr>
      <vt:lpstr>Лист Microsoft Office Excel 97-2003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Слайд 30</vt:lpstr>
      <vt:lpstr>Слайд 31</vt:lpstr>
      <vt:lpstr>Слайд 32</vt:lpstr>
      <vt:lpstr>Слайд 33</vt:lpstr>
      <vt:lpstr>Слайд 34</vt:lpstr>
      <vt:lpstr>Слайд 35</vt:lpstr>
      <vt:lpstr>Слайд 36</vt:lpstr>
      <vt:lpstr>Слайд 37</vt:lpstr>
      <vt:lpstr>Слайд 38</vt:lpstr>
      <vt:lpstr>Слайд 39</vt:lpstr>
      <vt:lpstr>Слайд 40</vt:lpstr>
      <vt:lpstr>Слайд 41</vt:lpstr>
      <vt:lpstr>Слайд 42</vt:lpstr>
      <vt:lpstr>Слайд 43</vt:lpstr>
      <vt:lpstr>Слайд 44</vt:lpstr>
      <vt:lpstr>Слайд 45</vt:lpstr>
      <vt:lpstr>Слайд 46</vt:lpstr>
      <vt:lpstr>Слайд 47</vt:lpstr>
      <vt:lpstr>Слайд 48</vt:lpstr>
      <vt:lpstr>Слайд 49</vt:lpstr>
      <vt:lpstr>Слайд 50</vt:lpstr>
      <vt:lpstr>Слайд 51</vt:lpstr>
      <vt:lpstr>Слайд 52</vt:lpstr>
      <vt:lpstr>Слайд 53</vt:lpstr>
      <vt:lpstr>Слайд 54</vt:lpstr>
      <vt:lpstr>Слайд 55</vt:lpstr>
      <vt:lpstr>Слайд 56</vt:lpstr>
      <vt:lpstr>Слайд 57</vt:lpstr>
      <vt:lpstr>Слайд 58</vt:lpstr>
      <vt:lpstr>Слайд 59</vt:lpstr>
      <vt:lpstr>Слайд 60</vt:lpstr>
      <vt:lpstr>Слайд 61</vt:lpstr>
      <vt:lpstr>Слайд 62</vt:lpstr>
      <vt:lpstr>Слайд 63</vt:lpstr>
      <vt:lpstr>Слайд 64</vt:lpstr>
      <vt:lpstr>Слайд 65</vt:lpstr>
      <vt:lpstr>Слайд 66</vt:lpstr>
      <vt:lpstr>Слайд 67</vt:lpstr>
      <vt:lpstr>Слайд 68</vt:lpstr>
      <vt:lpstr>Слайд 69</vt:lpstr>
      <vt:lpstr>Слайд 70</vt:lpstr>
      <vt:lpstr>Слайд 71</vt:lpstr>
      <vt:lpstr>Слайд 72</vt:lpstr>
      <vt:lpstr>Слайд 73</vt:lpstr>
      <vt:lpstr>Слайд 74</vt:lpstr>
      <vt:lpstr>Слайд 75</vt:lpstr>
      <vt:lpstr>Слайд 76</vt:lpstr>
      <vt:lpstr>Слайд 77</vt:lpstr>
      <vt:lpstr>Слайд 78</vt:lpstr>
      <vt:lpstr>Слайд 79</vt:lpstr>
      <vt:lpstr>Слайд 80</vt:lpstr>
      <vt:lpstr>Слайд 81</vt:lpstr>
      <vt:lpstr>Слайд 82</vt:lpstr>
      <vt:lpstr>Слайд 83</vt:lpstr>
      <vt:lpstr>Слайд 84</vt:lpstr>
      <vt:lpstr>Слайд 85</vt:lpstr>
      <vt:lpstr>Слайд 86</vt:lpstr>
      <vt:lpstr>Слайд 87</vt:lpstr>
      <vt:lpstr>Слайд 88</vt:lpstr>
      <vt:lpstr>Слайд 89</vt:lpstr>
      <vt:lpstr>Слайд 90</vt:lpstr>
      <vt:lpstr>Слайд 91</vt:lpstr>
      <vt:lpstr>Слайд 92</vt:lpstr>
      <vt:lpstr>Слайд 93</vt:lpstr>
      <vt:lpstr>Слайд 94</vt:lpstr>
      <vt:lpstr>Слайд 95</vt:lpstr>
      <vt:lpstr>Слайд 96</vt:lpstr>
      <vt:lpstr>Слайд 97</vt:lpstr>
      <vt:lpstr>Слайд 98</vt:lpstr>
      <vt:lpstr>Слайд 99</vt:lpstr>
      <vt:lpstr>Слайд 100</vt:lpstr>
      <vt:lpstr>Слайд 101</vt:lpstr>
      <vt:lpstr>Слайд 102</vt:lpstr>
      <vt:lpstr>Слайд 103</vt:lpstr>
      <vt:lpstr>Слайд 104</vt:lpstr>
      <vt:lpstr>Слайд 105</vt:lpstr>
    </vt:vector>
  </TitlesOfParts>
  <Company>Финуправление г.Железноводск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 NAME</dc:title>
  <dc:creator>ZhBrNG</dc:creator>
  <cp:lastModifiedBy>AdmAccount</cp:lastModifiedBy>
  <cp:revision>1940</cp:revision>
  <dcterms:created xsi:type="dcterms:W3CDTF">2014-11-25T07:29:51Z</dcterms:created>
  <dcterms:modified xsi:type="dcterms:W3CDTF">2019-01-30T08:00:18Z</dcterms:modified>
</cp:coreProperties>
</file>